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3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4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5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6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7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8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9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0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11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2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13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14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15.xml" ContentType="application/vnd.openxmlformats-officedocument.presentationml.notesSl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16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19"/>
  </p:notesMasterIdLst>
  <p:sldIdLst>
    <p:sldId id="256" r:id="rId2"/>
    <p:sldId id="257" r:id="rId3"/>
    <p:sldId id="258" r:id="rId4"/>
    <p:sldId id="260" r:id="rId5"/>
    <p:sldId id="262" r:id="rId6"/>
    <p:sldId id="267" r:id="rId7"/>
    <p:sldId id="263" r:id="rId8"/>
    <p:sldId id="265" r:id="rId9"/>
    <p:sldId id="277" r:id="rId10"/>
    <p:sldId id="274" r:id="rId11"/>
    <p:sldId id="266" r:id="rId12"/>
    <p:sldId id="275" r:id="rId13"/>
    <p:sldId id="269" r:id="rId14"/>
    <p:sldId id="259" r:id="rId15"/>
    <p:sldId id="270" r:id="rId16"/>
    <p:sldId id="272" r:id="rId17"/>
    <p:sldId id="276" r:id="rId18"/>
  </p:sldIdLst>
  <p:sldSz cx="16256000" cy="12192000"/>
  <p:notesSz cx="6858000" cy="9144000"/>
  <p:custDataLst>
    <p:tags r:id="rId2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4660"/>
  </p:normalViewPr>
  <p:slideViewPr>
    <p:cSldViewPr snapToGrid="0">
      <p:cViewPr varScale="1">
        <p:scale>
          <a:sx n="61" d="100"/>
          <a:sy n="61" d="100"/>
        </p:scale>
        <p:origin x="168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2" Type="http://schemas.openxmlformats.org/officeDocument/2006/relationships/image" Target="../media/image36.emf"/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A0BAE8-0CC5-400F-966F-7D259742056B}" type="datetimeFigureOut">
              <a:rPr lang="it-IT" smtClean="0"/>
              <a:t>13/04/2021</a:t>
            </a:fld>
            <a:endParaRPr lang="it-IT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dirty="0"/>
              <a:t>Click to edit Master text styles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  <a:p>
            <a:pPr lvl="3"/>
            <a:r>
              <a:rPr lang="it-IT" dirty="0"/>
              <a:t>Fourth level</a:t>
            </a:r>
          </a:p>
          <a:p>
            <a:pPr lvl="4"/>
            <a:r>
              <a:rPr lang="it-IT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ECEA33-D8A3-450E-B3F7-340AAFA97912}" type="slidenum">
              <a:rPr lang="it-IT" smtClean="0"/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1167371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ECEA33-D8A3-450E-B3F7-340AAFA97912}" type="slidenum">
              <a:rPr lang="it-IT" smtClean="0"/>
              <a:t>1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96426219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ECEA33-D8A3-450E-B3F7-340AAFA97912}" type="slidenum">
              <a:rPr lang="it-IT" smtClean="0"/>
              <a:t>10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55328659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ECEA33-D8A3-450E-B3F7-340AAFA97912}" type="slidenum">
              <a:rPr lang="it-IT" smtClean="0"/>
              <a:t>11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46099891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ECEA33-D8A3-450E-B3F7-340AAFA97912}" type="slidenum">
              <a:rPr lang="it-IT" smtClean="0"/>
              <a:t>12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85722119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ECEA33-D8A3-450E-B3F7-340AAFA97912}" type="slidenum">
              <a:rPr lang="it-IT" smtClean="0"/>
              <a:t>13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9780813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ECEA33-D8A3-450E-B3F7-340AAFA97912}" type="slidenum">
              <a:rPr lang="it-IT" smtClean="0"/>
              <a:t>14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603812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ECEA33-D8A3-450E-B3F7-340AAFA97912}" type="slidenum">
              <a:rPr lang="it-IT" smtClean="0"/>
              <a:t>15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82165653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ECEA33-D8A3-450E-B3F7-340AAFA97912}" type="slidenum">
              <a:rPr lang="it-IT" smtClean="0"/>
              <a:t>16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2297132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ECEA33-D8A3-450E-B3F7-340AAFA97912}" type="slidenum">
              <a:rPr lang="it-IT" smtClean="0"/>
              <a:t>17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8159972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Simo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ECEA33-D8A3-450E-B3F7-340AAFA97912}" type="slidenum">
              <a:rPr lang="it-IT" smtClean="0"/>
              <a:t>2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8062014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Giorg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ECEA33-D8A3-450E-B3F7-340AAFA97912}" type="slidenum">
              <a:rPr lang="it-IT" smtClean="0"/>
              <a:t>3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491694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dirty="0"/>
              <a:t>Giorgio</a:t>
            </a:r>
          </a:p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ECEA33-D8A3-450E-B3F7-340AAFA97912}" type="slidenum">
              <a:rPr lang="it-IT" smtClean="0"/>
              <a:t>4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565418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dirty="0"/>
              <a:t>Giorgio</a:t>
            </a:r>
          </a:p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ECEA33-D8A3-450E-B3F7-340AAFA97912}" type="slidenum">
              <a:rPr lang="it-IT" smtClean="0"/>
              <a:t>5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0339010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dirty="0"/>
              <a:t>Giorgio</a:t>
            </a:r>
          </a:p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ECEA33-D8A3-450E-B3F7-340AAFA97912}" type="slidenum">
              <a:rPr lang="it-IT" smtClean="0"/>
              <a:t>6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2504810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dirty="0"/>
              <a:t>Giorgio</a:t>
            </a:r>
          </a:p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ECEA33-D8A3-450E-B3F7-340AAFA97912}" type="slidenum">
              <a:rPr lang="it-IT" smtClean="0"/>
              <a:t>7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04744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ECEA33-D8A3-450E-B3F7-340AAFA97912}" type="slidenum">
              <a:rPr lang="it-IT" smtClean="0"/>
              <a:t>8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6266648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ECEA33-D8A3-450E-B3F7-340AAFA97912}" type="slidenum">
              <a:rPr lang="it-IT" smtClean="0"/>
              <a:t>9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2246134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1F95B81-BD2F-4BE7-A0BF-EC785941A7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5075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FD8221B-87B4-44A1-9ACF-1F2133031D3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10667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19200" y="1995312"/>
            <a:ext cx="13817600" cy="4244622"/>
          </a:xfrm>
        </p:spPr>
        <p:txBody>
          <a:bodyPr anchor="b"/>
          <a:lstStyle>
            <a:lvl1pPr algn="ctr">
              <a:defRPr sz="10667"/>
            </a:lvl1pPr>
          </a:lstStyle>
          <a:p>
            <a:r>
              <a:rPr lang="it-IT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32000" y="6403623"/>
            <a:ext cx="12192000" cy="2943577"/>
          </a:xfrm>
        </p:spPr>
        <p:txBody>
          <a:bodyPr/>
          <a:lstStyle>
            <a:lvl1pPr marL="0" indent="0" algn="ctr">
              <a:buNone/>
              <a:defRPr sz="4267"/>
            </a:lvl1pPr>
            <a:lvl2pPr marL="812810" indent="0" algn="ctr">
              <a:buNone/>
              <a:defRPr sz="3556"/>
            </a:lvl2pPr>
            <a:lvl3pPr marL="1625620" indent="0" algn="ctr">
              <a:buNone/>
              <a:defRPr sz="3200"/>
            </a:lvl3pPr>
            <a:lvl4pPr marL="2438430" indent="0" algn="ctr">
              <a:buNone/>
              <a:defRPr sz="2844"/>
            </a:lvl4pPr>
            <a:lvl5pPr marL="3251241" indent="0" algn="ctr">
              <a:buNone/>
              <a:defRPr sz="2844"/>
            </a:lvl5pPr>
            <a:lvl6pPr marL="4064051" indent="0" algn="ctr">
              <a:buNone/>
              <a:defRPr sz="2844"/>
            </a:lvl6pPr>
            <a:lvl7pPr marL="4876861" indent="0" algn="ctr">
              <a:buNone/>
              <a:defRPr sz="2844"/>
            </a:lvl7pPr>
            <a:lvl8pPr marL="5689671" indent="0" algn="ctr">
              <a:buNone/>
              <a:defRPr sz="2844"/>
            </a:lvl8pPr>
            <a:lvl9pPr marL="6502481" indent="0" algn="ctr">
              <a:buNone/>
              <a:defRPr sz="2844"/>
            </a:lvl9pPr>
          </a:lstStyle>
          <a:p>
            <a:r>
              <a:rPr lang="it-IT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1F5318-B90F-4DEA-B8F1-D01F49459302}" type="datetime1">
              <a:rPr lang="it-IT" smtClean="0"/>
              <a:t>13/04/2021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6C206D-2104-4DA0-B453-52F9B4D2DEBE}" type="slidenum">
              <a:rPr lang="it-IT" smtClean="0"/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2396951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68DE32E-B232-446E-9A4B-C38F9F82AB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5117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7C9F7F4-7EA5-44C3-880A-8217DD3B891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7822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dirty="0"/>
              <a:t>Click to edit Master text styles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  <a:p>
            <a:pPr lvl="3"/>
            <a:r>
              <a:rPr lang="it-IT" dirty="0"/>
              <a:t>Fourth level</a:t>
            </a:r>
          </a:p>
          <a:p>
            <a:pPr lvl="4"/>
            <a:r>
              <a:rPr lang="it-IT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9E75E-968A-40FC-9C48-0CF9FEAE82AC}" type="datetime1">
              <a:rPr lang="it-IT" smtClean="0"/>
              <a:t>13/04/2021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6C206D-2104-4DA0-B453-52F9B4D2DEBE}" type="slidenum">
              <a:rPr lang="it-IT" smtClean="0"/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614176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00F5EE6-98A2-415E-BE90-B0718F580C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5429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1EC875B-782F-4714-8E74-68F9EF8D858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7822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633201" y="649111"/>
            <a:ext cx="3505200" cy="10332156"/>
          </a:xfrm>
        </p:spPr>
        <p:txBody>
          <a:bodyPr vert="eaVert"/>
          <a:lstStyle/>
          <a:p>
            <a:r>
              <a:rPr lang="it-IT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17601" y="649111"/>
            <a:ext cx="10312400" cy="10332156"/>
          </a:xfrm>
        </p:spPr>
        <p:txBody>
          <a:bodyPr vert="eaVert"/>
          <a:lstStyle/>
          <a:p>
            <a:pPr lvl="0"/>
            <a:r>
              <a:rPr lang="it-IT" dirty="0"/>
              <a:t>Click to edit Master text styles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  <a:p>
            <a:pPr lvl="3"/>
            <a:r>
              <a:rPr lang="it-IT" dirty="0"/>
              <a:t>Fourth level</a:t>
            </a:r>
          </a:p>
          <a:p>
            <a:pPr lvl="4"/>
            <a:r>
              <a:rPr lang="it-IT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7C7635-5F7C-4FEA-8A92-A8A9646C8465}" type="datetime1">
              <a:rPr lang="it-IT" smtClean="0"/>
              <a:t>13/04/2021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6C206D-2104-4DA0-B453-52F9B4D2DEBE}" type="slidenum">
              <a:rPr lang="it-IT" smtClean="0"/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581694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2584565-BFAC-4079-AFEE-8CEA00A205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1781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B280643-BE57-4F50-8DFD-4E8E18F0FB1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7822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dirty="0"/>
              <a:t>Click to edit Master text styles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  <a:p>
            <a:pPr lvl="3"/>
            <a:r>
              <a:rPr lang="it-IT" dirty="0"/>
              <a:t>Fourth level</a:t>
            </a:r>
          </a:p>
          <a:p>
            <a:pPr lvl="4"/>
            <a:r>
              <a:rPr lang="it-IT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14AF51-D9EF-44F0-92F1-C17DB7DDB1C9}" type="datetime1">
              <a:rPr lang="it-IT" smtClean="0"/>
              <a:t>13/04/2021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6C206D-2104-4DA0-B453-52F9B4D2DEBE}" type="slidenum">
              <a:rPr lang="it-IT" smtClean="0"/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3535475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5BD0376-FC7D-4DD4-B7CB-BF29EC13C8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549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6DAC1B0-8E9E-49F6-885C-C84BAF58CD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10667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9134" y="3039537"/>
            <a:ext cx="14020800" cy="5071532"/>
          </a:xfrm>
        </p:spPr>
        <p:txBody>
          <a:bodyPr anchor="b"/>
          <a:lstStyle>
            <a:lvl1pPr>
              <a:defRPr sz="10667"/>
            </a:lvl1pPr>
          </a:lstStyle>
          <a:p>
            <a:r>
              <a:rPr lang="it-IT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9134" y="8159048"/>
            <a:ext cx="14020800" cy="2666999"/>
          </a:xfrm>
        </p:spPr>
        <p:txBody>
          <a:bodyPr/>
          <a:lstStyle>
            <a:lvl1pPr marL="0" indent="0">
              <a:buNone/>
              <a:defRPr sz="4267">
                <a:solidFill>
                  <a:schemeClr val="tx1"/>
                </a:solidFill>
              </a:defRPr>
            </a:lvl1pPr>
            <a:lvl2pPr marL="812810" indent="0">
              <a:buNone/>
              <a:defRPr sz="3556">
                <a:solidFill>
                  <a:schemeClr val="tx1">
                    <a:tint val="75000"/>
                  </a:schemeClr>
                </a:solidFill>
              </a:defRPr>
            </a:lvl2pPr>
            <a:lvl3pPr marL="162562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3pPr>
            <a:lvl4pPr marL="2438430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4pPr>
            <a:lvl5pPr marL="3251241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5pPr>
            <a:lvl6pPr marL="4064051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6pPr>
            <a:lvl7pPr marL="4876861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7pPr>
            <a:lvl8pPr marL="5689671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8pPr>
            <a:lvl9pPr marL="6502481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5BBFA2-21A1-4833-8AFF-633626893BED}" type="datetime1">
              <a:rPr lang="it-IT" smtClean="0"/>
              <a:t>13/04/2021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6C206D-2104-4DA0-B453-52F9B4D2DEBE}" type="slidenum">
              <a:rPr lang="it-IT" smtClean="0"/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0237944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9EDDCF1-B8D9-4685-BB0D-A40D8D5300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61568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DDA0B1D-F047-4DE0-8E84-F3539114C71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7822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17600" y="3245556"/>
            <a:ext cx="6908800" cy="7735712"/>
          </a:xfrm>
        </p:spPr>
        <p:txBody>
          <a:bodyPr/>
          <a:lstStyle/>
          <a:p>
            <a:pPr lvl="0"/>
            <a:r>
              <a:rPr lang="it-IT" dirty="0"/>
              <a:t>Click to edit Master text styles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  <a:p>
            <a:pPr lvl="3"/>
            <a:r>
              <a:rPr lang="it-IT" dirty="0"/>
              <a:t>Fourth level</a:t>
            </a:r>
          </a:p>
          <a:p>
            <a:pPr lvl="4"/>
            <a:r>
              <a:rPr lang="it-IT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29600" y="3245556"/>
            <a:ext cx="6908800" cy="7735712"/>
          </a:xfrm>
        </p:spPr>
        <p:txBody>
          <a:bodyPr/>
          <a:lstStyle/>
          <a:p>
            <a:pPr lvl="0"/>
            <a:r>
              <a:rPr lang="it-IT" dirty="0"/>
              <a:t>Click to edit Master text styles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  <a:p>
            <a:pPr lvl="3"/>
            <a:r>
              <a:rPr lang="it-IT" dirty="0"/>
              <a:t>Fourth level</a:t>
            </a:r>
          </a:p>
          <a:p>
            <a:pPr lvl="4"/>
            <a:r>
              <a:rPr lang="it-IT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019BA5-8ED1-4D29-8935-7106CFDD009F}" type="datetime1">
              <a:rPr lang="it-IT" smtClean="0"/>
              <a:t>13/04/2021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6C206D-2104-4DA0-B453-52F9B4D2DEBE}" type="slidenum">
              <a:rPr lang="it-IT" smtClean="0"/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40328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D01E230-041D-492E-BDF9-F0131FA6F8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9083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2BEAF6C8-C817-4AC0-9295-5F1EED7C8B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7822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19717" y="649114"/>
            <a:ext cx="14020800" cy="2356556"/>
          </a:xfrm>
        </p:spPr>
        <p:txBody>
          <a:bodyPr/>
          <a:lstStyle/>
          <a:p>
            <a:r>
              <a:rPr lang="it-IT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19719" y="2988734"/>
            <a:ext cx="6877049" cy="1464732"/>
          </a:xfrm>
        </p:spPr>
        <p:txBody>
          <a:bodyPr anchor="b"/>
          <a:lstStyle>
            <a:lvl1pPr marL="0" indent="0">
              <a:buNone/>
              <a:defRPr sz="4267" b="1"/>
            </a:lvl1pPr>
            <a:lvl2pPr marL="812810" indent="0">
              <a:buNone/>
              <a:defRPr sz="3556" b="1"/>
            </a:lvl2pPr>
            <a:lvl3pPr marL="1625620" indent="0">
              <a:buNone/>
              <a:defRPr sz="3200" b="1"/>
            </a:lvl3pPr>
            <a:lvl4pPr marL="2438430" indent="0">
              <a:buNone/>
              <a:defRPr sz="2844" b="1"/>
            </a:lvl4pPr>
            <a:lvl5pPr marL="3251241" indent="0">
              <a:buNone/>
              <a:defRPr sz="2844" b="1"/>
            </a:lvl5pPr>
            <a:lvl6pPr marL="4064051" indent="0">
              <a:buNone/>
              <a:defRPr sz="2844" b="1"/>
            </a:lvl6pPr>
            <a:lvl7pPr marL="4876861" indent="0">
              <a:buNone/>
              <a:defRPr sz="2844" b="1"/>
            </a:lvl7pPr>
            <a:lvl8pPr marL="5689671" indent="0">
              <a:buNone/>
              <a:defRPr sz="2844" b="1"/>
            </a:lvl8pPr>
            <a:lvl9pPr marL="6502481" indent="0">
              <a:buNone/>
              <a:defRPr sz="2844" b="1"/>
            </a:lvl9pPr>
          </a:lstStyle>
          <a:p>
            <a:pPr lvl="0"/>
            <a:r>
              <a:rPr lang="it-IT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19719" y="4453467"/>
            <a:ext cx="6877049" cy="6550379"/>
          </a:xfrm>
        </p:spPr>
        <p:txBody>
          <a:bodyPr/>
          <a:lstStyle/>
          <a:p>
            <a:pPr lvl="0"/>
            <a:r>
              <a:rPr lang="it-IT" dirty="0"/>
              <a:t>Click to edit Master text styles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  <a:p>
            <a:pPr lvl="3"/>
            <a:r>
              <a:rPr lang="it-IT" dirty="0"/>
              <a:t>Fourth level</a:t>
            </a:r>
          </a:p>
          <a:p>
            <a:pPr lvl="4"/>
            <a:r>
              <a:rPr lang="it-IT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8229601" y="2988734"/>
            <a:ext cx="6910917" cy="1464732"/>
          </a:xfrm>
        </p:spPr>
        <p:txBody>
          <a:bodyPr anchor="b"/>
          <a:lstStyle>
            <a:lvl1pPr marL="0" indent="0">
              <a:buNone/>
              <a:defRPr sz="4267" b="1"/>
            </a:lvl1pPr>
            <a:lvl2pPr marL="812810" indent="0">
              <a:buNone/>
              <a:defRPr sz="3556" b="1"/>
            </a:lvl2pPr>
            <a:lvl3pPr marL="1625620" indent="0">
              <a:buNone/>
              <a:defRPr sz="3200" b="1"/>
            </a:lvl3pPr>
            <a:lvl4pPr marL="2438430" indent="0">
              <a:buNone/>
              <a:defRPr sz="2844" b="1"/>
            </a:lvl4pPr>
            <a:lvl5pPr marL="3251241" indent="0">
              <a:buNone/>
              <a:defRPr sz="2844" b="1"/>
            </a:lvl5pPr>
            <a:lvl6pPr marL="4064051" indent="0">
              <a:buNone/>
              <a:defRPr sz="2844" b="1"/>
            </a:lvl6pPr>
            <a:lvl7pPr marL="4876861" indent="0">
              <a:buNone/>
              <a:defRPr sz="2844" b="1"/>
            </a:lvl7pPr>
            <a:lvl8pPr marL="5689671" indent="0">
              <a:buNone/>
              <a:defRPr sz="2844" b="1"/>
            </a:lvl8pPr>
            <a:lvl9pPr marL="6502481" indent="0">
              <a:buNone/>
              <a:defRPr sz="2844" b="1"/>
            </a:lvl9pPr>
          </a:lstStyle>
          <a:p>
            <a:pPr lvl="0"/>
            <a:r>
              <a:rPr lang="it-IT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8229601" y="4453467"/>
            <a:ext cx="6910917" cy="6550379"/>
          </a:xfrm>
        </p:spPr>
        <p:txBody>
          <a:bodyPr/>
          <a:lstStyle/>
          <a:p>
            <a:pPr lvl="0"/>
            <a:r>
              <a:rPr lang="it-IT" dirty="0"/>
              <a:t>Click to edit Master text styles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  <a:p>
            <a:pPr lvl="3"/>
            <a:r>
              <a:rPr lang="it-IT" dirty="0"/>
              <a:t>Fourth level</a:t>
            </a:r>
          </a:p>
          <a:p>
            <a:pPr lvl="4"/>
            <a:r>
              <a:rPr lang="it-IT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A6CF05-B4CE-4EE3-82EC-8D344FA8117C}" type="datetime1">
              <a:rPr lang="it-IT" smtClean="0"/>
              <a:t>13/04/2021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6C206D-2104-4DA0-B453-52F9B4D2DEBE}" type="slidenum">
              <a:rPr lang="it-IT" smtClean="0"/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799614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A162940-5136-4C95-B67D-86F607C837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7883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91C45AE0-A1CB-45CA-AE41-E5DC13E7CA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7822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4EBC74-A138-478B-9E73-7C6624A07415}" type="datetime1">
              <a:rPr lang="it-IT" smtClean="0"/>
              <a:t>13/04/2021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6C206D-2104-4DA0-B453-52F9B4D2DEBE}" type="slidenum">
              <a:rPr lang="it-IT" smtClean="0"/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4339565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D259C71-06A7-4E24-B03F-EFAF5A866D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4328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BBC704-A479-47FA-959E-690AE9488B1E}" type="datetime1">
              <a:rPr lang="it-IT" smtClean="0"/>
              <a:t>13/04/2021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6C206D-2104-4DA0-B453-52F9B4D2DEBE}" type="slidenum">
              <a:rPr lang="it-IT" smtClean="0"/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6106453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F8EA8E7-6E0D-41C6-BD09-30B0790F19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602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7251083-B30B-4F6A-AB1E-BCE8A8A4944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5689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19717" y="812800"/>
            <a:ext cx="5242983" cy="2844800"/>
          </a:xfrm>
        </p:spPr>
        <p:txBody>
          <a:bodyPr anchor="b"/>
          <a:lstStyle>
            <a:lvl1pPr>
              <a:defRPr sz="5689"/>
            </a:lvl1pPr>
          </a:lstStyle>
          <a:p>
            <a:r>
              <a:rPr lang="it-IT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10917" y="1755425"/>
            <a:ext cx="8229600" cy="8664222"/>
          </a:xfrm>
        </p:spPr>
        <p:txBody>
          <a:bodyPr/>
          <a:lstStyle>
            <a:lvl1pPr>
              <a:defRPr sz="5689"/>
            </a:lvl1pPr>
            <a:lvl2pPr>
              <a:defRPr sz="4978"/>
            </a:lvl2pPr>
            <a:lvl3pPr>
              <a:defRPr sz="4267"/>
            </a:lvl3pPr>
            <a:lvl4pPr>
              <a:defRPr sz="3556"/>
            </a:lvl4pPr>
            <a:lvl5pPr>
              <a:defRPr sz="3556"/>
            </a:lvl5pPr>
            <a:lvl6pPr>
              <a:defRPr sz="3556"/>
            </a:lvl6pPr>
            <a:lvl7pPr>
              <a:defRPr sz="3556"/>
            </a:lvl7pPr>
            <a:lvl8pPr>
              <a:defRPr sz="3556"/>
            </a:lvl8pPr>
            <a:lvl9pPr>
              <a:defRPr sz="3556"/>
            </a:lvl9pPr>
          </a:lstStyle>
          <a:p>
            <a:pPr lvl="0"/>
            <a:r>
              <a:rPr lang="it-IT" dirty="0"/>
              <a:t>Click to edit Master text styles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  <a:p>
            <a:pPr lvl="3"/>
            <a:r>
              <a:rPr lang="it-IT" dirty="0"/>
              <a:t>Fourth level</a:t>
            </a:r>
          </a:p>
          <a:p>
            <a:pPr lvl="4"/>
            <a:r>
              <a:rPr lang="it-IT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19717" y="3657600"/>
            <a:ext cx="5242983" cy="6776156"/>
          </a:xfrm>
        </p:spPr>
        <p:txBody>
          <a:bodyPr/>
          <a:lstStyle>
            <a:lvl1pPr marL="0" indent="0">
              <a:buNone/>
              <a:defRPr sz="2844"/>
            </a:lvl1pPr>
            <a:lvl2pPr marL="812810" indent="0">
              <a:buNone/>
              <a:defRPr sz="2489"/>
            </a:lvl2pPr>
            <a:lvl3pPr marL="1625620" indent="0">
              <a:buNone/>
              <a:defRPr sz="2133"/>
            </a:lvl3pPr>
            <a:lvl4pPr marL="2438430" indent="0">
              <a:buNone/>
              <a:defRPr sz="1778"/>
            </a:lvl4pPr>
            <a:lvl5pPr marL="3251241" indent="0">
              <a:buNone/>
              <a:defRPr sz="1778"/>
            </a:lvl5pPr>
            <a:lvl6pPr marL="4064051" indent="0">
              <a:buNone/>
              <a:defRPr sz="1778"/>
            </a:lvl6pPr>
            <a:lvl7pPr marL="4876861" indent="0">
              <a:buNone/>
              <a:defRPr sz="1778"/>
            </a:lvl7pPr>
            <a:lvl8pPr marL="5689671" indent="0">
              <a:buNone/>
              <a:defRPr sz="1778"/>
            </a:lvl8pPr>
            <a:lvl9pPr marL="6502481" indent="0">
              <a:buNone/>
              <a:defRPr sz="1778"/>
            </a:lvl9pPr>
          </a:lstStyle>
          <a:p>
            <a:pPr lvl="0"/>
            <a:r>
              <a:rPr lang="it-IT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E4FDF7-49F9-457D-97F5-031B2917FBE4}" type="datetime1">
              <a:rPr lang="it-IT" smtClean="0"/>
              <a:t>13/04/2021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6C206D-2104-4DA0-B453-52F9B4D2DEBE}" type="slidenum">
              <a:rPr lang="it-IT" smtClean="0"/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9224705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5DC5AD8-F609-49B9-8B9A-85E3AD1C46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436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56F2D7E2-C642-46CA-A4B2-C8206F1967B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5689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19717" y="812800"/>
            <a:ext cx="5242983" cy="2844800"/>
          </a:xfrm>
        </p:spPr>
        <p:txBody>
          <a:bodyPr anchor="b"/>
          <a:lstStyle>
            <a:lvl1pPr>
              <a:defRPr sz="5689"/>
            </a:lvl1pPr>
          </a:lstStyle>
          <a:p>
            <a:r>
              <a:rPr lang="it-IT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910917" y="1755425"/>
            <a:ext cx="8229600" cy="8664222"/>
          </a:xfrm>
        </p:spPr>
        <p:txBody>
          <a:bodyPr anchor="t"/>
          <a:lstStyle>
            <a:lvl1pPr marL="0" indent="0">
              <a:buNone/>
              <a:defRPr sz="5689"/>
            </a:lvl1pPr>
            <a:lvl2pPr marL="812810" indent="0">
              <a:buNone/>
              <a:defRPr sz="4978"/>
            </a:lvl2pPr>
            <a:lvl3pPr marL="1625620" indent="0">
              <a:buNone/>
              <a:defRPr sz="4267"/>
            </a:lvl3pPr>
            <a:lvl4pPr marL="2438430" indent="0">
              <a:buNone/>
              <a:defRPr sz="3556"/>
            </a:lvl4pPr>
            <a:lvl5pPr marL="3251241" indent="0">
              <a:buNone/>
              <a:defRPr sz="3556"/>
            </a:lvl5pPr>
            <a:lvl6pPr marL="4064051" indent="0">
              <a:buNone/>
              <a:defRPr sz="3556"/>
            </a:lvl6pPr>
            <a:lvl7pPr marL="4876861" indent="0">
              <a:buNone/>
              <a:defRPr sz="3556"/>
            </a:lvl7pPr>
            <a:lvl8pPr marL="5689671" indent="0">
              <a:buNone/>
              <a:defRPr sz="3556"/>
            </a:lvl8pPr>
            <a:lvl9pPr marL="6502481" indent="0">
              <a:buNone/>
              <a:defRPr sz="3556"/>
            </a:lvl9pPr>
          </a:lstStyle>
          <a:p>
            <a:r>
              <a:rPr lang="it-IT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19717" y="3657600"/>
            <a:ext cx="5242983" cy="6776156"/>
          </a:xfrm>
        </p:spPr>
        <p:txBody>
          <a:bodyPr/>
          <a:lstStyle>
            <a:lvl1pPr marL="0" indent="0">
              <a:buNone/>
              <a:defRPr sz="2844"/>
            </a:lvl1pPr>
            <a:lvl2pPr marL="812810" indent="0">
              <a:buNone/>
              <a:defRPr sz="2489"/>
            </a:lvl2pPr>
            <a:lvl3pPr marL="1625620" indent="0">
              <a:buNone/>
              <a:defRPr sz="2133"/>
            </a:lvl3pPr>
            <a:lvl4pPr marL="2438430" indent="0">
              <a:buNone/>
              <a:defRPr sz="1778"/>
            </a:lvl4pPr>
            <a:lvl5pPr marL="3251241" indent="0">
              <a:buNone/>
              <a:defRPr sz="1778"/>
            </a:lvl5pPr>
            <a:lvl6pPr marL="4064051" indent="0">
              <a:buNone/>
              <a:defRPr sz="1778"/>
            </a:lvl6pPr>
            <a:lvl7pPr marL="4876861" indent="0">
              <a:buNone/>
              <a:defRPr sz="1778"/>
            </a:lvl7pPr>
            <a:lvl8pPr marL="5689671" indent="0">
              <a:buNone/>
              <a:defRPr sz="1778"/>
            </a:lvl8pPr>
            <a:lvl9pPr marL="6502481" indent="0">
              <a:buNone/>
              <a:defRPr sz="1778"/>
            </a:lvl9pPr>
          </a:lstStyle>
          <a:p>
            <a:pPr lvl="0"/>
            <a:r>
              <a:rPr lang="it-IT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27B00D-0AFA-4623-986C-63429D129DCD}" type="datetime1">
              <a:rPr lang="it-IT" smtClean="0"/>
              <a:t>13/04/2021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6C206D-2104-4DA0-B453-52F9B4D2DEBE}" type="slidenum">
              <a:rPr lang="it-IT" smtClean="0"/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6637710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17600" y="649114"/>
            <a:ext cx="14020800" cy="23565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17600" y="3245556"/>
            <a:ext cx="14020800" cy="77357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dirty="0"/>
              <a:t>Click to edit Master text styles</a:t>
            </a:r>
          </a:p>
          <a:p>
            <a:pPr lvl="1"/>
            <a:r>
              <a:rPr lang="it-IT" dirty="0"/>
              <a:t>Second level</a:t>
            </a:r>
          </a:p>
          <a:p>
            <a:pPr lvl="2"/>
            <a:r>
              <a:rPr lang="it-IT" dirty="0"/>
              <a:t>Third level</a:t>
            </a:r>
          </a:p>
          <a:p>
            <a:pPr lvl="3"/>
            <a:r>
              <a:rPr lang="it-IT" dirty="0"/>
              <a:t>Fourth level</a:t>
            </a:r>
          </a:p>
          <a:p>
            <a:pPr lvl="4"/>
            <a:r>
              <a:rPr lang="it-IT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00" y="11300181"/>
            <a:ext cx="3657600" cy="649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13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41AAD8-1336-4FF5-A7DC-3F010F0F3321}" type="datetime1">
              <a:rPr lang="it-IT" smtClean="0"/>
              <a:t>13/04/2021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84800" y="11300181"/>
            <a:ext cx="5486400" cy="649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13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80800" y="11300181"/>
            <a:ext cx="3657600" cy="649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13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6C206D-2104-4DA0-B453-52F9B4D2DEBE}" type="slidenum">
              <a:rPr lang="it-IT" smtClean="0"/>
              <a:t>‹#›</a:t>
            </a:fld>
            <a:endParaRPr lang="it-IT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8199CDC-B679-4764-AEAF-C556E1B2E0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935949432"/>
              </p:ext>
            </p:extLst>
          </p:nvPr>
        </p:nvGraphicFramePr>
        <p:xfrm>
          <a:off x="2118" y="2824"/>
          <a:ext cx="2117" cy="28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CB2F264-0EB5-40EF-BB05-D96BE20A74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824"/>
                        <a:ext cx="2117" cy="28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C881837-7F1F-498D-B943-FD9B662CE807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1" y="0"/>
            <a:ext cx="211667" cy="2822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it-IT" sz="7822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2154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ftr="0" dt="0"/>
  <p:txStyles>
    <p:titleStyle>
      <a:lvl1pPr algn="l" defTabSz="1625620" rtl="0" eaLnBrk="1" latinLnBrk="0" hangingPunct="1">
        <a:lnSpc>
          <a:spcPct val="90000"/>
        </a:lnSpc>
        <a:spcBef>
          <a:spcPct val="0"/>
        </a:spcBef>
        <a:buNone/>
        <a:defRPr sz="782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06405" indent="-406405" algn="l" defTabSz="1625620" rtl="0" eaLnBrk="1" latinLnBrk="0" hangingPunct="1">
        <a:lnSpc>
          <a:spcPct val="90000"/>
        </a:lnSpc>
        <a:spcBef>
          <a:spcPts val="1778"/>
        </a:spcBef>
        <a:buFont typeface="Arial" panose="020B0604020202020204" pitchFamily="34" charset="0"/>
        <a:buChar char="•"/>
        <a:defRPr sz="4978" kern="1200">
          <a:solidFill>
            <a:schemeClr val="tx1"/>
          </a:solidFill>
          <a:latin typeface="+mn-lt"/>
          <a:ea typeface="+mn-ea"/>
          <a:cs typeface="+mn-cs"/>
        </a:defRPr>
      </a:lvl1pPr>
      <a:lvl2pPr marL="1219215" indent="-406405" algn="l" defTabSz="1625620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2pPr>
      <a:lvl3pPr marL="2032025" indent="-406405" algn="l" defTabSz="1625620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556" kern="1200">
          <a:solidFill>
            <a:schemeClr val="tx1"/>
          </a:solidFill>
          <a:latin typeface="+mn-lt"/>
          <a:ea typeface="+mn-ea"/>
          <a:cs typeface="+mn-cs"/>
        </a:defRPr>
      </a:lvl3pPr>
      <a:lvl4pPr marL="2844836" indent="-406405" algn="l" defTabSz="1625620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46" indent="-406405" algn="l" defTabSz="1625620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470456" indent="-406405" algn="l" defTabSz="1625620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5283266" indent="-406405" algn="l" defTabSz="1625620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6096076" indent="-406405" algn="l" defTabSz="1625620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908886" indent="-406405" algn="l" defTabSz="1625620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812810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625620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438430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3251241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064051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876861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689671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502481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tags" Target="../tags/tag26.xml"/><Relationship Id="rId7" Type="http://schemas.openxmlformats.org/officeDocument/2006/relationships/image" Target="../media/image1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3.jp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44.xml"/><Relationship Id="rId7" Type="http://schemas.openxmlformats.org/officeDocument/2006/relationships/image" Target="../media/image1.emf"/><Relationship Id="rId2" Type="http://schemas.openxmlformats.org/officeDocument/2006/relationships/tags" Target="../tags/tag43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46.xml"/><Relationship Id="rId7" Type="http://schemas.openxmlformats.org/officeDocument/2006/relationships/image" Target="../media/image1.emf"/><Relationship Id="rId2" Type="http://schemas.openxmlformats.org/officeDocument/2006/relationships/tags" Target="../tags/tag45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11.xml"/><Relationship Id="rId10" Type="http://schemas.openxmlformats.org/officeDocument/2006/relationships/image" Target="../media/image14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8.xml"/><Relationship Id="rId7" Type="http://schemas.openxmlformats.org/officeDocument/2006/relationships/oleObject" Target="../embeddings/oleObject24.bin"/><Relationship Id="rId2" Type="http://schemas.openxmlformats.org/officeDocument/2006/relationships/tags" Target="../tags/tag4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5.png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14.png"/><Relationship Id="rId3" Type="http://schemas.openxmlformats.org/officeDocument/2006/relationships/tags" Target="../tags/tag50.xml"/><Relationship Id="rId7" Type="http://schemas.openxmlformats.org/officeDocument/2006/relationships/image" Target="../media/image1.emf"/><Relationship Id="rId12" Type="http://schemas.openxmlformats.org/officeDocument/2006/relationships/image" Target="../media/image30.png"/><Relationship Id="rId2" Type="http://schemas.openxmlformats.org/officeDocument/2006/relationships/tags" Target="../tags/tag49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11" Type="http://schemas.openxmlformats.org/officeDocument/2006/relationships/image" Target="../media/image29.png"/><Relationship Id="rId5" Type="http://schemas.openxmlformats.org/officeDocument/2006/relationships/notesSlide" Target="../notesSlides/notesSlide13.xml"/><Relationship Id="rId10" Type="http://schemas.openxmlformats.org/officeDocument/2006/relationships/image" Target="../media/image28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7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52.xml"/><Relationship Id="rId7" Type="http://schemas.openxmlformats.org/officeDocument/2006/relationships/image" Target="../media/image1.emf"/><Relationship Id="rId2" Type="http://schemas.openxmlformats.org/officeDocument/2006/relationships/tags" Target="../tags/tag51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tags" Target="../tags/tag54.xml"/><Relationship Id="rId7" Type="http://schemas.openxmlformats.org/officeDocument/2006/relationships/image" Target="../media/image1.emf"/><Relationship Id="rId2" Type="http://schemas.openxmlformats.org/officeDocument/2006/relationships/tags" Target="../tags/tag53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7.bin"/><Relationship Id="rId11" Type="http://schemas.openxmlformats.org/officeDocument/2006/relationships/image" Target="../media/image14.png"/><Relationship Id="rId5" Type="http://schemas.openxmlformats.org/officeDocument/2006/relationships/notesSlide" Target="../notesSlides/notesSlide15.xml"/><Relationship Id="rId10" Type="http://schemas.openxmlformats.org/officeDocument/2006/relationships/image" Target="../media/image33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2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56.xml"/><Relationship Id="rId7" Type="http://schemas.openxmlformats.org/officeDocument/2006/relationships/image" Target="../media/image1.emf"/><Relationship Id="rId2" Type="http://schemas.openxmlformats.org/officeDocument/2006/relationships/tags" Target="../tags/tag55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8.bin"/><Relationship Id="rId5" Type="http://schemas.openxmlformats.org/officeDocument/2006/relationships/notesSlide" Target="../notesSlides/notesSlide16.xml"/><Relationship Id="rId10" Type="http://schemas.openxmlformats.org/officeDocument/2006/relationships/image" Target="../media/image35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4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58.xml"/><Relationship Id="rId7" Type="http://schemas.openxmlformats.org/officeDocument/2006/relationships/image" Target="../media/image1.emf"/><Relationship Id="rId12" Type="http://schemas.openxmlformats.org/officeDocument/2006/relationships/image" Target="../media/image38.png"/><Relationship Id="rId2" Type="http://schemas.openxmlformats.org/officeDocument/2006/relationships/tags" Target="../tags/tag57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11" Type="http://schemas.openxmlformats.org/officeDocument/2006/relationships/image" Target="../media/image37.png"/><Relationship Id="rId5" Type="http://schemas.openxmlformats.org/officeDocument/2006/relationships/notesSlide" Target="../notesSlides/notesSlide17.xml"/><Relationship Id="rId10" Type="http://schemas.openxmlformats.org/officeDocument/2006/relationships/image" Target="../media/image36.emf"/><Relationship Id="rId4" Type="http://schemas.openxmlformats.org/officeDocument/2006/relationships/slideLayout" Target="../slideLayouts/slideLayout2.xml"/><Relationship Id="rId9" Type="http://schemas.openxmlformats.org/officeDocument/2006/relationships/package" Target="../embeddings/Microsoft_Excel_Worksheet.xlsx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8.xml"/><Relationship Id="rId7" Type="http://schemas.openxmlformats.org/officeDocument/2006/relationships/image" Target="../media/image1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0.xml"/><Relationship Id="rId7" Type="http://schemas.openxmlformats.org/officeDocument/2006/relationships/image" Target="../media/image1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32.xml"/><Relationship Id="rId7" Type="http://schemas.openxmlformats.org/officeDocument/2006/relationships/image" Target="NULL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34.xml"/><Relationship Id="rId7" Type="http://schemas.openxmlformats.org/officeDocument/2006/relationships/image" Target="NULL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3.jp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36.xml"/><Relationship Id="rId7" Type="http://schemas.openxmlformats.org/officeDocument/2006/relationships/image" Target="../media/image1.emf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5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38.xml"/><Relationship Id="rId7" Type="http://schemas.openxmlformats.org/officeDocument/2006/relationships/image" Target="../media/image1.emf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14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40.xml"/><Relationship Id="rId7" Type="http://schemas.openxmlformats.org/officeDocument/2006/relationships/image" Target="../media/image1.emf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8.xml"/><Relationship Id="rId10" Type="http://schemas.openxmlformats.org/officeDocument/2006/relationships/image" Target="../media/image19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42.xml"/><Relationship Id="rId7" Type="http://schemas.openxmlformats.org/officeDocument/2006/relationships/image" Target="../media/image1.emf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9.xml"/><Relationship Id="rId10" Type="http://schemas.openxmlformats.org/officeDocument/2006/relationships/image" Target="../media/image21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0F84546-23A1-4F6E-A010-5DE2D65522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9445618"/>
              </p:ext>
            </p:extLst>
          </p:nvPr>
        </p:nvGraphicFramePr>
        <p:xfrm>
          <a:off x="2118" y="1526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26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CA484C5-3282-4A72-A28C-10CB69CEF78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52400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0667" b="1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0D3E046-B3D4-469D-8AE0-161B8A41EF8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3505" y="1308578"/>
            <a:ext cx="7528990" cy="5110301"/>
          </a:xfrm>
          <a:prstGeom prst="rect">
            <a:avLst/>
          </a:prstGeom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1BFB056-D8AF-4D9E-A12B-ADC582B4824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19200" y="5105097"/>
            <a:ext cx="13817600" cy="1591734"/>
          </a:xfrm>
        </p:spPr>
        <p:txBody>
          <a:bodyPr>
            <a:normAutofit/>
          </a:bodyPr>
          <a:lstStyle/>
          <a:p>
            <a:r>
              <a:rPr lang="it-IT" b="1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Data min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4871E1F-7846-4FAA-8166-0E51C9F441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32000" y="7054902"/>
            <a:ext cx="12192000" cy="2943577"/>
          </a:xfrm>
        </p:spPr>
        <p:txBody>
          <a:bodyPr>
            <a:normAutofit lnSpcReduction="10000"/>
          </a:bodyPr>
          <a:lstStyle/>
          <a:p>
            <a:r>
              <a:rPr lang="it-IT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Maria Vallarelli</a:t>
            </a:r>
          </a:p>
          <a:p>
            <a:r>
              <a:rPr lang="it-IT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Simone Zambetti</a:t>
            </a:r>
          </a:p>
          <a:p>
            <a:r>
              <a:rPr lang="it-IT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Giorgio Martelli</a:t>
            </a:r>
          </a:p>
          <a:p>
            <a:r>
              <a:rPr lang="it-IT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10/30/2020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C0C12CD-2B47-42BE-AF57-7649E1377D23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6256000" cy="2087880"/>
          </a:xfrm>
          <a:prstGeom prst="rect">
            <a:avLst/>
          </a:prstGeom>
          <a:solidFill>
            <a:schemeClr val="accent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16256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822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it-IT" dirty="0">
              <a:solidFill>
                <a:schemeClr val="bg1"/>
              </a:solidFill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56603DA-8291-4241-98F4-29030FC966A6}"/>
              </a:ext>
            </a:extLst>
          </p:cNvPr>
          <p:cNvSpPr txBox="1">
            <a:spLocks/>
          </p:cNvSpPr>
          <p:nvPr/>
        </p:nvSpPr>
        <p:spPr>
          <a:xfrm>
            <a:off x="0" y="10104120"/>
            <a:ext cx="16256000" cy="2087880"/>
          </a:xfrm>
          <a:prstGeom prst="rect">
            <a:avLst/>
          </a:prstGeom>
          <a:solidFill>
            <a:schemeClr val="accent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16256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822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it-IT" sz="3200" dirty="0">
              <a:solidFill>
                <a:schemeClr val="bg1"/>
              </a:solidFill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BB073371-607A-4C7B-94C6-C306779AEE98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896"/>
          <a:stretch/>
        </p:blipFill>
        <p:spPr>
          <a:xfrm>
            <a:off x="14714299" y="8684251"/>
            <a:ext cx="1541701" cy="1314228"/>
          </a:xfrm>
          <a:prstGeom prst="rect">
            <a:avLst/>
          </a:prstGeom>
        </p:spPr>
      </p:pic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A0B045C-5B42-4414-BBAB-85E0B767B6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6C206D-2104-4DA0-B453-52F9B4D2DEBE}" type="slidenum">
              <a:rPr lang="it-IT" smtClean="0"/>
              <a:t>1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4770517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ABB1442-C4D2-4DEB-895D-39AA80DF3B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26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ABB1442-C4D2-4DEB-895D-39AA80DF3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26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926FDC8-04F3-4583-822B-C2D4FF63B73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52400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7822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F7D1D0B-A516-4954-A5DC-5A341AFBA7DD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6256000" cy="2087880"/>
          </a:xfrm>
          <a:prstGeom prst="rect">
            <a:avLst/>
          </a:prstGeom>
          <a:solidFill>
            <a:schemeClr val="accent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16256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822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dirty="0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SAS </a:t>
            </a:r>
            <a:r>
              <a:rPr lang="it-IT" sz="3600" dirty="0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I</a:t>
            </a:r>
            <a:r>
              <a:rPr lang="it-IT" dirty="0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 </a:t>
            </a:r>
            <a:r>
              <a:rPr lang="it-IT" sz="4000" dirty="0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  </a:t>
            </a:r>
            <a:endParaRPr lang="it-IT" dirty="0">
              <a:solidFill>
                <a:schemeClr val="bg1"/>
              </a:solidFill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88BA6A1-EFB6-4484-A7BF-AE1F66129A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393" y="2374491"/>
            <a:ext cx="14928646" cy="6182913"/>
          </a:xfrm>
        </p:spPr>
        <p:txBody>
          <a:bodyPr>
            <a:normAutofit/>
          </a:bodyPr>
          <a:lstStyle/>
          <a:p>
            <a:r>
              <a:rPr lang="it-IT" sz="2800" dirty="0"/>
              <a:t>Tramite il nodo di codice SAS «correlation» abbiamo effettuato una proc corr per individuare eventuali correlazioni tra le variabili ma il coefficiente di correlazione non supera 0.60</a:t>
            </a:r>
          </a:p>
          <a:p>
            <a:endParaRPr lang="it-IT" sz="2800" dirty="0"/>
          </a:p>
          <a:p>
            <a:endParaRPr lang="it-IT" sz="2800" dirty="0"/>
          </a:p>
          <a:p>
            <a:endParaRPr lang="it-IT" sz="2800" dirty="0"/>
          </a:p>
          <a:p>
            <a:endParaRPr lang="it-IT" sz="2800" dirty="0"/>
          </a:p>
          <a:p>
            <a:endParaRPr lang="it-IT" sz="2800" dirty="0"/>
          </a:p>
          <a:p>
            <a:endParaRPr lang="it-IT" sz="2800" dirty="0"/>
          </a:p>
          <a:p>
            <a:endParaRPr lang="it-IT" sz="2800" dirty="0"/>
          </a:p>
          <a:p>
            <a:endParaRPr lang="it-IT" sz="2800" dirty="0"/>
          </a:p>
          <a:p>
            <a:endParaRPr lang="it-IT" sz="2800" dirty="0"/>
          </a:p>
          <a:p>
            <a:endParaRPr lang="it-IT" sz="2800" dirty="0"/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04EFE055-4538-4D07-A676-D04714F53D1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93954" y="3521351"/>
            <a:ext cx="14928646" cy="733132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" name="Immagine 8">
            <a:extLst>
              <a:ext uri="{FF2B5EF4-FFF2-40B4-BE49-F238E27FC236}">
                <a16:creationId xmlns:a16="http://schemas.microsoft.com/office/drawing/2014/main" id="{E9A351FB-ADB6-4734-B05A-628611499B48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4557" r="78317" b="68043"/>
          <a:stretch/>
        </p:blipFill>
        <p:spPr>
          <a:xfrm>
            <a:off x="3333135" y="79215"/>
            <a:ext cx="3524865" cy="1852824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FD0B564-F895-442F-B076-EFC0CCD1BA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6C206D-2104-4DA0-B453-52F9B4D2DEBE}" type="slidenum">
              <a:rPr lang="it-IT" smtClean="0"/>
              <a:t>10</a:t>
            </a:fld>
            <a:endParaRPr lang="it-IT" dirty="0"/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665FBDD1-B88C-46A2-9ED9-EC04E409FBAD}"/>
              </a:ext>
            </a:extLst>
          </p:cNvPr>
          <p:cNvSpPr txBox="1"/>
          <p:nvPr/>
        </p:nvSpPr>
        <p:spPr>
          <a:xfrm>
            <a:off x="177527" y="11621728"/>
            <a:ext cx="16174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M</a:t>
            </a:r>
          </a:p>
        </p:txBody>
      </p:sp>
    </p:spTree>
    <p:extLst>
      <p:ext uri="{BB962C8B-B14F-4D97-AF65-F5344CB8AC3E}">
        <p14:creationId xmlns:p14="http://schemas.microsoft.com/office/powerpoint/2010/main" val="181645375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ABB1442-C4D2-4DEB-895D-39AA80DF3B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26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ABB1442-C4D2-4DEB-895D-39AA80DF3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26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926FDC8-04F3-4583-822B-C2D4FF63B73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52400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7822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F7D1D0B-A516-4954-A5DC-5A341AFBA7DD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6256000" cy="2087880"/>
          </a:xfrm>
          <a:prstGeom prst="rect">
            <a:avLst/>
          </a:prstGeom>
          <a:solidFill>
            <a:schemeClr val="accent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16256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822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dirty="0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SAS </a:t>
            </a:r>
            <a:r>
              <a:rPr lang="it-IT" sz="3600" dirty="0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II</a:t>
            </a:r>
            <a:r>
              <a:rPr lang="it-IT" dirty="0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 </a:t>
            </a:r>
            <a:r>
              <a:rPr lang="it-IT" sz="4000" dirty="0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  </a:t>
            </a:r>
            <a:endParaRPr lang="it-IT" dirty="0">
              <a:solidFill>
                <a:schemeClr val="bg1"/>
              </a:solidFill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88BA6A1-EFB6-4484-A7BF-AE1F66129A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393" y="2788355"/>
            <a:ext cx="14928646" cy="8671141"/>
          </a:xfrm>
        </p:spPr>
        <p:txBody>
          <a:bodyPr>
            <a:normAutofit/>
          </a:bodyPr>
          <a:lstStyle/>
          <a:p>
            <a:r>
              <a:rPr lang="it-IT" sz="2800" dirty="0"/>
              <a:t>Dopo aver partizionato il dataset utilizzando una </a:t>
            </a:r>
            <a:r>
              <a:rPr lang="it-IT" sz="2800" dirty="0" err="1"/>
              <a:t>external</a:t>
            </a:r>
            <a:r>
              <a:rPr lang="it-IT" sz="2800" dirty="0"/>
              <a:t> </a:t>
            </a:r>
            <a:r>
              <a:rPr lang="it-IT" sz="2800" dirty="0" err="1"/>
              <a:t>holdout</a:t>
            </a:r>
            <a:r>
              <a:rPr lang="it-IT" sz="2800" dirty="0"/>
              <a:t> 70-30, è stata effettuata una sostituzione solo per le variabili categoriche </a:t>
            </a:r>
            <a:r>
              <a:rPr lang="it-IT" sz="2800" dirty="0" err="1"/>
              <a:t>missing</a:t>
            </a:r>
            <a:r>
              <a:rPr lang="it-IT" sz="2800" dirty="0"/>
              <a:t>. Non si è ritenuto opportuno sostituire le continue prevedendo di fare un’imputazione prima di applicare i modelli che non gestiscono i valori </a:t>
            </a:r>
            <a:r>
              <a:rPr lang="it-IT" sz="2800" dirty="0" err="1"/>
              <a:t>missing</a:t>
            </a:r>
            <a:r>
              <a:rPr lang="it-IT" sz="2800" dirty="0"/>
              <a:t>.</a:t>
            </a: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D05AA5DA-FF40-4A49-8043-5198F294776E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115" r="2714"/>
          <a:stretch/>
        </p:blipFill>
        <p:spPr>
          <a:xfrm>
            <a:off x="1519083" y="5099047"/>
            <a:ext cx="4645743" cy="528014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3" name="Immagine 2">
            <a:extLst>
              <a:ext uri="{FF2B5EF4-FFF2-40B4-BE49-F238E27FC236}">
                <a16:creationId xmlns:a16="http://schemas.microsoft.com/office/drawing/2014/main" id="{44B06126-1C0B-47E6-8307-F44B7D90EDB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51372" y="4593140"/>
            <a:ext cx="9196667" cy="686635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9" name="Rectangle 10">
            <a:extLst>
              <a:ext uri="{FF2B5EF4-FFF2-40B4-BE49-F238E27FC236}">
                <a16:creationId xmlns:a16="http://schemas.microsoft.com/office/drawing/2014/main" id="{6282AB5C-B627-4F9D-A35C-CEEAB39BC1EB}"/>
              </a:ext>
            </a:extLst>
          </p:cNvPr>
          <p:cNvSpPr/>
          <p:nvPr/>
        </p:nvSpPr>
        <p:spPr>
          <a:xfrm>
            <a:off x="7713406" y="8402128"/>
            <a:ext cx="2552029" cy="284671"/>
          </a:xfrm>
          <a:prstGeom prst="rect">
            <a:avLst/>
          </a:prstGeom>
          <a:solidFill>
            <a:srgbClr val="4472C4">
              <a:alpha val="7843"/>
            </a:srgbClr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76E7188-8484-4687-B5F5-EE9BE6944480}"/>
              </a:ext>
            </a:extLst>
          </p:cNvPr>
          <p:cNvSpPr/>
          <p:nvPr/>
        </p:nvSpPr>
        <p:spPr>
          <a:xfrm>
            <a:off x="7713406" y="11174825"/>
            <a:ext cx="2552029" cy="284671"/>
          </a:xfrm>
          <a:prstGeom prst="rect">
            <a:avLst/>
          </a:prstGeom>
          <a:solidFill>
            <a:srgbClr val="4472C4">
              <a:alpha val="7843"/>
            </a:srgbClr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6F65870-36F9-4691-8C31-36D541E2E93A}"/>
              </a:ext>
            </a:extLst>
          </p:cNvPr>
          <p:cNvSpPr/>
          <p:nvPr/>
        </p:nvSpPr>
        <p:spPr>
          <a:xfrm>
            <a:off x="7713405" y="5629431"/>
            <a:ext cx="2552029" cy="284671"/>
          </a:xfrm>
          <a:prstGeom prst="rect">
            <a:avLst/>
          </a:prstGeom>
          <a:solidFill>
            <a:srgbClr val="4472C4">
              <a:alpha val="7843"/>
            </a:srgbClr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3" name="Immagine 8">
            <a:extLst>
              <a:ext uri="{FF2B5EF4-FFF2-40B4-BE49-F238E27FC236}">
                <a16:creationId xmlns:a16="http://schemas.microsoft.com/office/drawing/2014/main" id="{B04BC362-7D57-4BAB-87C3-677A6D8B20CE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817" t="30898" r="77863" b="50168"/>
          <a:stretch/>
        </p:blipFill>
        <p:spPr>
          <a:xfrm>
            <a:off x="2871692" y="398207"/>
            <a:ext cx="3942064" cy="1309848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7193CD-2915-4143-82A2-750E741ABF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6C206D-2104-4DA0-B453-52F9B4D2DEBE}" type="slidenum">
              <a:rPr lang="it-IT" smtClean="0"/>
              <a:t>11</a:t>
            </a:fld>
            <a:endParaRPr lang="it-IT" dirty="0"/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692AD3AF-56CE-4A2A-AD39-8ACB2FAF7CC8}"/>
              </a:ext>
            </a:extLst>
          </p:cNvPr>
          <p:cNvSpPr txBox="1"/>
          <p:nvPr/>
        </p:nvSpPr>
        <p:spPr>
          <a:xfrm>
            <a:off x="177527" y="11621728"/>
            <a:ext cx="16174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M</a:t>
            </a:r>
          </a:p>
        </p:txBody>
      </p:sp>
    </p:spTree>
    <p:extLst>
      <p:ext uri="{BB962C8B-B14F-4D97-AF65-F5344CB8AC3E}">
        <p14:creationId xmlns:p14="http://schemas.microsoft.com/office/powerpoint/2010/main" val="8690941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22EBFF4B-3D4F-43D9-BF03-164ECC9168E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9714" y="5017435"/>
            <a:ext cx="15936572" cy="592558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ABB1442-C4D2-4DEB-895D-39AA80DF3B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26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5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ABB1442-C4D2-4DEB-895D-39AA80DF3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26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926FDC8-04F3-4583-822B-C2D4FF63B73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52400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7822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F7D1D0B-A516-4954-A5DC-5A341AFBA7DD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6256000" cy="2087880"/>
          </a:xfrm>
          <a:prstGeom prst="rect">
            <a:avLst/>
          </a:prstGeom>
          <a:solidFill>
            <a:schemeClr val="accent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16256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822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sz="4400" dirty="0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Alberi decisionali e gradient boosting</a:t>
            </a:r>
            <a:r>
              <a:rPr lang="it-IT" sz="1800" dirty="0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 </a:t>
            </a:r>
            <a:endParaRPr lang="it-IT" sz="4400" dirty="0">
              <a:solidFill>
                <a:schemeClr val="bg1"/>
              </a:solidFill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88BA6A1-EFB6-4484-A7BF-AE1F66129A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393" y="2788355"/>
            <a:ext cx="14928646" cy="8671141"/>
          </a:xfrm>
        </p:spPr>
        <p:txBody>
          <a:bodyPr>
            <a:normAutofit/>
          </a:bodyPr>
          <a:lstStyle/>
          <a:p>
            <a:r>
              <a:rPr lang="it-IT" sz="2800" dirty="0"/>
              <a:t>2 tipi di alberi decisionali, uno con pruning automatico ed un gradient boosting</a:t>
            </a:r>
          </a:p>
          <a:p>
            <a:r>
              <a:rPr lang="it-IT" sz="2800" dirty="0"/>
              <a:t>Massima profondità di 6 e una misura di foglia minima di 10</a:t>
            </a:r>
          </a:p>
          <a:p>
            <a:r>
              <a:rPr lang="it-IT" sz="2800" dirty="0"/>
              <a:t>Non abbiamo trattato i missing visto che questi modelli li supportano</a:t>
            </a:r>
          </a:p>
        </p:txBody>
      </p:sp>
      <p:pic>
        <p:nvPicPr>
          <p:cNvPr id="8" name="Immagine 8">
            <a:extLst>
              <a:ext uri="{FF2B5EF4-FFF2-40B4-BE49-F238E27FC236}">
                <a16:creationId xmlns:a16="http://schemas.microsoft.com/office/drawing/2014/main" id="{E9420171-3CA0-4F54-A1F0-912EBE2EACED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43433" t="8470" r="44363" b="63815"/>
          <a:stretch/>
        </p:blipFill>
        <p:spPr>
          <a:xfrm>
            <a:off x="719393" y="85295"/>
            <a:ext cx="2256503" cy="191729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5BC118-F3F7-40CB-B6A3-4B7640CEAE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6C206D-2104-4DA0-B453-52F9B4D2DEBE}" type="slidenum">
              <a:rPr lang="it-IT" smtClean="0"/>
              <a:t>12</a:t>
            </a:fld>
            <a:endParaRPr lang="it-IT" dirty="0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B180BEF8-EB98-41D2-B210-26C48D1E7339}"/>
              </a:ext>
            </a:extLst>
          </p:cNvPr>
          <p:cNvSpPr txBox="1"/>
          <p:nvPr/>
        </p:nvSpPr>
        <p:spPr>
          <a:xfrm>
            <a:off x="177527" y="11621728"/>
            <a:ext cx="16174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M</a:t>
            </a:r>
          </a:p>
        </p:txBody>
      </p:sp>
    </p:spTree>
    <p:extLst>
      <p:ext uri="{BB962C8B-B14F-4D97-AF65-F5344CB8AC3E}">
        <p14:creationId xmlns:p14="http://schemas.microsoft.com/office/powerpoint/2010/main" val="85083502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ABB1442-C4D2-4DEB-895D-39AA80DF3B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26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6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ABB1442-C4D2-4DEB-895D-39AA80DF3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26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926FDC8-04F3-4583-822B-C2D4FF63B73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52400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7822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F7D1D0B-A516-4954-A5DC-5A341AFBA7DD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6256000" cy="2087880"/>
          </a:xfrm>
          <a:prstGeom prst="rect">
            <a:avLst/>
          </a:prstGeom>
          <a:solidFill>
            <a:schemeClr val="accent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16256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822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sz="4800" dirty="0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Imputazione e transformazione</a:t>
            </a:r>
            <a:r>
              <a:rPr lang="it-IT" sz="2000" dirty="0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  </a:t>
            </a:r>
            <a:endParaRPr lang="it-IT" sz="4800" dirty="0">
              <a:solidFill>
                <a:schemeClr val="bg1"/>
              </a:solidFill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88BA6A1-EFB6-4484-A7BF-AE1F66129A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393" y="2788355"/>
            <a:ext cx="14928646" cy="8671141"/>
          </a:xfrm>
        </p:spPr>
        <p:txBody>
          <a:bodyPr>
            <a:normAutofit/>
          </a:bodyPr>
          <a:lstStyle/>
          <a:p>
            <a:r>
              <a:rPr lang="it-IT" sz="2800" dirty="0"/>
              <a:t>Prima delle regressioni logistiche sui dataset, sono state imputate le </a:t>
            </a:r>
            <a:r>
              <a:rPr lang="it-IT" sz="2800" dirty="0" err="1"/>
              <a:t>covariate</a:t>
            </a:r>
            <a:r>
              <a:rPr lang="it-IT" sz="2800" dirty="0"/>
              <a:t> categoriche tramite alberi decisionali surrogati e le continue tramite mediana</a:t>
            </a:r>
          </a:p>
          <a:p>
            <a:r>
              <a:rPr lang="it-IT" sz="2800" dirty="0"/>
              <a:t>La trasformazione delle variabili è stata puoi effettuata per redistribuire l’asimmetria della covariata «prezzo» ed abbiamo raggrupato pesi, emissioni, consumi che erano distribuiti più uniformemente, alcuni con una curtosi alta</a:t>
            </a:r>
          </a:p>
          <a:p>
            <a:endParaRPr lang="it-IT" sz="2800" dirty="0"/>
          </a:p>
        </p:txBody>
      </p:sp>
      <p:pic>
        <p:nvPicPr>
          <p:cNvPr id="8" name="Immagine 5">
            <a:extLst>
              <a:ext uri="{FF2B5EF4-FFF2-40B4-BE49-F238E27FC236}">
                <a16:creationId xmlns:a16="http://schemas.microsoft.com/office/drawing/2014/main" id="{16719A44-6729-434E-A77E-C411C71E497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2376" y="5550156"/>
            <a:ext cx="7996225" cy="187375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" name="Content Placeholder 4">
            <a:extLst>
              <a:ext uri="{FF2B5EF4-FFF2-40B4-BE49-F238E27FC236}">
                <a16:creationId xmlns:a16="http://schemas.microsoft.com/office/drawing/2014/main" id="{CE85A7D8-A150-4ED6-A389-E99610FC9D6A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3797" t="9144" r="2495" b="67625"/>
          <a:stretch/>
        </p:blipFill>
        <p:spPr>
          <a:xfrm>
            <a:off x="392983" y="7576820"/>
            <a:ext cx="7735015" cy="122889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7EE3B85-991F-4231-8437-5D341C7EBC0D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2095" t="7912" r="1337" b="74015"/>
          <a:stretch/>
        </p:blipFill>
        <p:spPr>
          <a:xfrm>
            <a:off x="392983" y="8994436"/>
            <a:ext cx="7735015" cy="113734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03BDF66-8D1F-46C7-8336-72EC69E582D5}"/>
              </a:ext>
            </a:extLst>
          </p:cNvPr>
          <p:cNvSpPr txBox="1"/>
          <p:nvPr/>
        </p:nvSpPr>
        <p:spPr>
          <a:xfrm>
            <a:off x="4783394" y="7850945"/>
            <a:ext cx="2207341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it-IT" dirty="0"/>
              <a:t>Emissioni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B49AA8C-13CB-41D2-9F00-16CA4CAA9C96}"/>
              </a:ext>
            </a:extLst>
          </p:cNvPr>
          <p:cNvSpPr txBox="1"/>
          <p:nvPr/>
        </p:nvSpPr>
        <p:spPr>
          <a:xfrm>
            <a:off x="4783394" y="9237908"/>
            <a:ext cx="2207341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it-IT" dirty="0"/>
              <a:t>Price</a:t>
            </a:r>
          </a:p>
        </p:txBody>
      </p:sp>
      <p:pic>
        <p:nvPicPr>
          <p:cNvPr id="14" name="Immagine 13">
            <a:extLst>
              <a:ext uri="{FF2B5EF4-FFF2-40B4-BE49-F238E27FC236}">
                <a16:creationId xmlns:a16="http://schemas.microsoft.com/office/drawing/2014/main" id="{07CEF2D3-4BD8-43DC-B1FB-0BF051E27EC9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r="14776" b="5425"/>
          <a:stretch/>
        </p:blipFill>
        <p:spPr>
          <a:xfrm>
            <a:off x="8454406" y="6376066"/>
            <a:ext cx="7175105" cy="489653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5" name="Rectangle 10">
            <a:extLst>
              <a:ext uri="{FF2B5EF4-FFF2-40B4-BE49-F238E27FC236}">
                <a16:creationId xmlns:a16="http://schemas.microsoft.com/office/drawing/2014/main" id="{31F4FDF5-262E-4637-A615-8AA902912B6F}"/>
              </a:ext>
            </a:extLst>
          </p:cNvPr>
          <p:cNvSpPr/>
          <p:nvPr/>
        </p:nvSpPr>
        <p:spPr>
          <a:xfrm>
            <a:off x="8454406" y="7435133"/>
            <a:ext cx="3871466" cy="600478"/>
          </a:xfrm>
          <a:prstGeom prst="rect">
            <a:avLst/>
          </a:prstGeom>
          <a:solidFill>
            <a:srgbClr val="4472C4">
              <a:alpha val="7843"/>
            </a:srgbClr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6" name="Immagine 15">
            <a:extLst>
              <a:ext uri="{FF2B5EF4-FFF2-40B4-BE49-F238E27FC236}">
                <a16:creationId xmlns:a16="http://schemas.microsoft.com/office/drawing/2014/main" id="{754DE6A3-2F3C-4FF2-8B0D-A84D3919F64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92980" y="10235869"/>
            <a:ext cx="7735015" cy="14859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9CA11E85-AA9F-4F2B-B508-B8DF21DCC140}"/>
              </a:ext>
            </a:extLst>
          </p:cNvPr>
          <p:cNvSpPr txBox="1"/>
          <p:nvPr/>
        </p:nvSpPr>
        <p:spPr>
          <a:xfrm>
            <a:off x="4783394" y="10724636"/>
            <a:ext cx="2207341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it-IT" dirty="0"/>
              <a:t>Consumo carburante</a:t>
            </a:r>
          </a:p>
        </p:txBody>
      </p:sp>
      <p:pic>
        <p:nvPicPr>
          <p:cNvPr id="18" name="Immagine 8">
            <a:extLst>
              <a:ext uri="{FF2B5EF4-FFF2-40B4-BE49-F238E27FC236}">
                <a16:creationId xmlns:a16="http://schemas.microsoft.com/office/drawing/2014/main" id="{E720FEE1-0629-4B38-9FD4-44654B7F3AA0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9526" t="71307" r="70312" b="17215"/>
          <a:stretch/>
        </p:blipFill>
        <p:spPr>
          <a:xfrm>
            <a:off x="12786697" y="732504"/>
            <a:ext cx="3277574" cy="69809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1B4A1A8-A3EB-48F4-A85F-A8486697FA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6C206D-2104-4DA0-B453-52F9B4D2DEBE}" type="slidenum">
              <a:rPr lang="it-IT" smtClean="0"/>
              <a:t>13</a:t>
            </a:fld>
            <a:endParaRPr lang="it-IT" dirty="0"/>
          </a:p>
        </p:txBody>
      </p:sp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B915E038-7075-4C36-88E2-732F8B065935}"/>
              </a:ext>
            </a:extLst>
          </p:cNvPr>
          <p:cNvSpPr txBox="1"/>
          <p:nvPr/>
        </p:nvSpPr>
        <p:spPr>
          <a:xfrm>
            <a:off x="177527" y="11621728"/>
            <a:ext cx="16174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S</a:t>
            </a:r>
          </a:p>
        </p:txBody>
      </p:sp>
    </p:spTree>
    <p:extLst>
      <p:ext uri="{BB962C8B-B14F-4D97-AF65-F5344CB8AC3E}">
        <p14:creationId xmlns:p14="http://schemas.microsoft.com/office/powerpoint/2010/main" val="26528000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ABB1442-C4D2-4DEB-895D-39AA80DF3B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26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ABB1442-C4D2-4DEB-895D-39AA80DF3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26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926FDC8-04F3-4583-822B-C2D4FF63B73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52400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7822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F7D1D0B-A516-4954-A5DC-5A341AFBA7DD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6256000" cy="2087880"/>
          </a:xfrm>
          <a:prstGeom prst="rect">
            <a:avLst/>
          </a:prstGeom>
          <a:solidFill>
            <a:schemeClr val="accent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16256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822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dirty="0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Regressioni e ret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88BA6A1-EFB6-4484-A7BF-AE1F66129A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393" y="2788355"/>
            <a:ext cx="14928646" cy="8671141"/>
          </a:xfrm>
        </p:spPr>
        <p:txBody>
          <a:bodyPr>
            <a:normAutofit/>
          </a:bodyPr>
          <a:lstStyle/>
          <a:p>
            <a:r>
              <a:rPr lang="it-IT" sz="3200" dirty="0"/>
              <a:t>Sono stati dunque creati vari nodi di regressione </a:t>
            </a:r>
            <a:r>
              <a:rPr lang="it-IT" sz="3200" dirty="0" err="1"/>
              <a:t>backward</a:t>
            </a:r>
            <a:r>
              <a:rPr lang="it-IT" sz="3200" dirty="0"/>
              <a:t> e </a:t>
            </a:r>
            <a:r>
              <a:rPr lang="it-IT" sz="3200" dirty="0" err="1"/>
              <a:t>stepwise</a:t>
            </a:r>
            <a:r>
              <a:rPr lang="it-IT" sz="3200" dirty="0"/>
              <a:t> </a:t>
            </a:r>
          </a:p>
          <a:p>
            <a:r>
              <a:rPr lang="it-IT" sz="3200" dirty="0"/>
              <a:t>Sono state anche selezionate le variabili per il ridurne il numero in import alla rete neurale</a:t>
            </a:r>
          </a:p>
          <a:p>
            <a:endParaRPr lang="it-IT" sz="3200" dirty="0"/>
          </a:p>
        </p:txBody>
      </p:sp>
      <p:pic>
        <p:nvPicPr>
          <p:cNvPr id="6" name="Immagine 8">
            <a:extLst>
              <a:ext uri="{FF2B5EF4-FFF2-40B4-BE49-F238E27FC236}">
                <a16:creationId xmlns:a16="http://schemas.microsoft.com/office/drawing/2014/main" id="{ADC290B1-AEC4-4E5A-A29C-59590983BCE1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8166" t="54994" r="44385" b="-94"/>
          <a:stretch/>
        </p:blipFill>
        <p:spPr>
          <a:xfrm>
            <a:off x="2173748" y="5796116"/>
            <a:ext cx="12019936" cy="42747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CA3627E-B559-441B-A924-CA50F5F35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6C206D-2104-4DA0-B453-52F9B4D2DEBE}" type="slidenum">
              <a:rPr lang="it-IT" smtClean="0"/>
              <a:t>14</a:t>
            </a:fld>
            <a:endParaRPr lang="it-IT" dirty="0"/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BAF69CC2-5417-4BCB-BDF8-25B70C63A6A1}"/>
              </a:ext>
            </a:extLst>
          </p:cNvPr>
          <p:cNvSpPr txBox="1"/>
          <p:nvPr/>
        </p:nvSpPr>
        <p:spPr>
          <a:xfrm>
            <a:off x="177527" y="11621728"/>
            <a:ext cx="16174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S</a:t>
            </a:r>
          </a:p>
        </p:txBody>
      </p:sp>
    </p:spTree>
    <p:extLst>
      <p:ext uri="{BB962C8B-B14F-4D97-AF65-F5344CB8AC3E}">
        <p14:creationId xmlns:p14="http://schemas.microsoft.com/office/powerpoint/2010/main" val="27159139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ABB1442-C4D2-4DEB-895D-39AA80DF3B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26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ABB1442-C4D2-4DEB-895D-39AA80DF3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26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926FDC8-04F3-4583-822B-C2D4FF63B73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52400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7822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F7D1D0B-A516-4954-A5DC-5A341AFBA7DD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6256000" cy="2087880"/>
          </a:xfrm>
          <a:prstGeom prst="rect">
            <a:avLst/>
          </a:prstGeom>
          <a:solidFill>
            <a:schemeClr val="accent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16256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822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dirty="0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         Confronto tra modelli</a:t>
            </a:r>
            <a:r>
              <a:rPr lang="it-IT" sz="4000" dirty="0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  </a:t>
            </a:r>
            <a:endParaRPr lang="it-IT" dirty="0">
              <a:solidFill>
                <a:schemeClr val="bg1"/>
              </a:solidFill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856B979D-87C2-47B6-9900-F5C8686F7F21}"/>
              </a:ext>
            </a:extLst>
          </p:cNvPr>
          <p:cNvSpPr txBox="1"/>
          <p:nvPr/>
        </p:nvSpPr>
        <p:spPr>
          <a:xfrm>
            <a:off x="546783" y="2189555"/>
            <a:ext cx="1516243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400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Durante l’assessment, abbiamo scelto come metodo di selezione la ROC, visto che vogliamo massimizzare TPR e minimizzare FP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400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Il modello ad albero decisionale performa meglio su tutte le soglie, massimizzando AUC sempr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400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ROC ed anche ASE sono consistenti tra train e validation per tutti i modelli</a:t>
            </a:r>
          </a:p>
        </p:txBody>
      </p:sp>
      <p:pic>
        <p:nvPicPr>
          <p:cNvPr id="7" name="Segnaposto contenuto 1">
            <a:extLst>
              <a:ext uri="{FF2B5EF4-FFF2-40B4-BE49-F238E27FC236}">
                <a16:creationId xmlns:a16="http://schemas.microsoft.com/office/drawing/2014/main" id="{98DF2C5E-87ED-4339-B566-3AEC509FD29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8"/>
          <a:stretch>
            <a:fillRect/>
          </a:stretch>
        </p:blipFill>
        <p:spPr>
          <a:xfrm>
            <a:off x="174625" y="3863553"/>
            <a:ext cx="8619879" cy="436898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" name="Immagine 5">
            <a:extLst>
              <a:ext uri="{FF2B5EF4-FFF2-40B4-BE49-F238E27FC236}">
                <a16:creationId xmlns:a16="http://schemas.microsoft.com/office/drawing/2014/main" id="{81C8CB70-F809-491F-9760-56D5716E555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913806" y="4335913"/>
            <a:ext cx="7342194" cy="308175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1" name="Immagine 2">
            <a:extLst>
              <a:ext uri="{FF2B5EF4-FFF2-40B4-BE49-F238E27FC236}">
                <a16:creationId xmlns:a16="http://schemas.microsoft.com/office/drawing/2014/main" id="{A60D9813-713C-4E21-A28E-ED5CD43B361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74625" y="8232533"/>
            <a:ext cx="15429169" cy="37880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2" name="Immagine 8">
            <a:extLst>
              <a:ext uri="{FF2B5EF4-FFF2-40B4-BE49-F238E27FC236}">
                <a16:creationId xmlns:a16="http://schemas.microsoft.com/office/drawing/2014/main" id="{CD7E1C0F-17FF-47F5-BC50-B23D9989E4C4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57630" t="37266" r="21556" b="46704"/>
          <a:stretch/>
        </p:blipFill>
        <p:spPr>
          <a:xfrm>
            <a:off x="174625" y="334256"/>
            <a:ext cx="3852172" cy="111001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3" name="Rectangle 10">
            <a:extLst>
              <a:ext uri="{FF2B5EF4-FFF2-40B4-BE49-F238E27FC236}">
                <a16:creationId xmlns:a16="http://schemas.microsoft.com/office/drawing/2014/main" id="{A2738013-702A-41FA-8B69-B3E2265B8E1B}"/>
              </a:ext>
            </a:extLst>
          </p:cNvPr>
          <p:cNvSpPr/>
          <p:nvPr/>
        </p:nvSpPr>
        <p:spPr>
          <a:xfrm>
            <a:off x="4380272" y="8418890"/>
            <a:ext cx="781664" cy="3438854"/>
          </a:xfrm>
          <a:prstGeom prst="rect">
            <a:avLst/>
          </a:prstGeom>
          <a:solidFill>
            <a:srgbClr val="4472C4">
              <a:alpha val="7843"/>
            </a:srgbClr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4" name="Rectangle 10">
            <a:extLst>
              <a:ext uri="{FF2B5EF4-FFF2-40B4-BE49-F238E27FC236}">
                <a16:creationId xmlns:a16="http://schemas.microsoft.com/office/drawing/2014/main" id="{DC3122FA-6754-4D29-89D9-58057262BED8}"/>
              </a:ext>
            </a:extLst>
          </p:cNvPr>
          <p:cNvSpPr/>
          <p:nvPr/>
        </p:nvSpPr>
        <p:spPr>
          <a:xfrm>
            <a:off x="7889209" y="8581679"/>
            <a:ext cx="781664" cy="3438854"/>
          </a:xfrm>
          <a:prstGeom prst="rect">
            <a:avLst/>
          </a:prstGeom>
          <a:solidFill>
            <a:srgbClr val="4472C4">
              <a:alpha val="7843"/>
            </a:srgbClr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5" name="Rectangle 10">
            <a:extLst>
              <a:ext uri="{FF2B5EF4-FFF2-40B4-BE49-F238E27FC236}">
                <a16:creationId xmlns:a16="http://schemas.microsoft.com/office/drawing/2014/main" id="{9E887F7A-6CD3-4FE2-A32E-731C8DC479A2}"/>
              </a:ext>
            </a:extLst>
          </p:cNvPr>
          <p:cNvSpPr/>
          <p:nvPr/>
        </p:nvSpPr>
        <p:spPr>
          <a:xfrm>
            <a:off x="13380525" y="8581679"/>
            <a:ext cx="781664" cy="3438854"/>
          </a:xfrm>
          <a:prstGeom prst="rect">
            <a:avLst/>
          </a:prstGeom>
          <a:solidFill>
            <a:srgbClr val="4472C4">
              <a:alpha val="7843"/>
            </a:srgbClr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045009-138E-446B-B29E-9FB7E8C6D8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6C206D-2104-4DA0-B453-52F9B4D2DEBE}" type="slidenum">
              <a:rPr lang="it-IT" smtClean="0"/>
              <a:t>15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2058139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ABB1442-C4D2-4DEB-895D-39AA80DF3B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3959176"/>
              </p:ext>
            </p:extLst>
          </p:nvPr>
        </p:nvGraphicFramePr>
        <p:xfrm>
          <a:off x="2118" y="1526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1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ABB1442-C4D2-4DEB-895D-39AA80DF3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26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926FDC8-04F3-4583-822B-C2D4FF63B73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52400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7822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F7D1D0B-A516-4954-A5DC-5A341AFBA7DD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6256000" cy="2087880"/>
          </a:xfrm>
          <a:prstGeom prst="rect">
            <a:avLst/>
          </a:prstGeom>
          <a:solidFill>
            <a:schemeClr val="accent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16256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822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dirty="0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            Scelta del cutoff</a:t>
            </a:r>
            <a:r>
              <a:rPr lang="it-IT" sz="4000" dirty="0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 </a:t>
            </a:r>
            <a:endParaRPr lang="it-IT" dirty="0">
              <a:solidFill>
                <a:schemeClr val="bg1"/>
              </a:solidFill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88BA6A1-EFB6-4484-A7BF-AE1F66129A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393" y="2227006"/>
            <a:ext cx="14928646" cy="9232491"/>
          </a:xfrm>
        </p:spPr>
        <p:txBody>
          <a:bodyPr>
            <a:normAutofit/>
          </a:bodyPr>
          <a:lstStyle/>
          <a:p>
            <a:r>
              <a:rPr lang="it-IT" sz="2400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Non avendo una matrice dei costi/profitti, è stato individuata la soglia in base al criterio statistico sul dataset di validation</a:t>
            </a:r>
          </a:p>
          <a:p>
            <a:r>
              <a:rPr lang="it-IT" sz="2400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Nel nostro caso abbiamo voluto massimizzare la precision e sensitivity (ossia F)</a:t>
            </a:r>
          </a:p>
          <a:p>
            <a:r>
              <a:rPr lang="it-IT" sz="2400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Abbiamo impostato presion = recall nel nodo di cutoff in SAS, ed esportato i dati di output delle soglie plottando le statistiche di classificazione al variare della soglia di cutoff comprendendo anche F ed </a:t>
            </a:r>
            <a:r>
              <a:rPr lang="it-IT" sz="2400" dirty="0" err="1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error</a:t>
            </a:r>
            <a:r>
              <a:rPr lang="it-IT" sz="2400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 rate.</a:t>
            </a:r>
          </a:p>
          <a:p>
            <a:r>
              <a:rPr lang="it-IT" sz="2400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Abbiamo così scelto una soglia di cutoff di 0.69</a:t>
            </a:r>
          </a:p>
        </p:txBody>
      </p:sp>
      <p:pic>
        <p:nvPicPr>
          <p:cNvPr id="12" name="Immagine 8">
            <a:extLst>
              <a:ext uri="{FF2B5EF4-FFF2-40B4-BE49-F238E27FC236}">
                <a16:creationId xmlns:a16="http://schemas.microsoft.com/office/drawing/2014/main" id="{706E9DF1-0CDE-46DA-9420-7377F07501B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69356" t="37266" r="283" b="46704"/>
          <a:stretch/>
        </p:blipFill>
        <p:spPr>
          <a:xfrm>
            <a:off x="206478" y="431924"/>
            <a:ext cx="5279470" cy="104291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F5A007E-3006-4989-A0E7-0CD5CCADA87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19393" y="4936676"/>
            <a:ext cx="11085151" cy="686764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" name="Immagine 8">
            <a:extLst>
              <a:ext uri="{FF2B5EF4-FFF2-40B4-BE49-F238E27FC236}">
                <a16:creationId xmlns:a16="http://schemas.microsoft.com/office/drawing/2014/main" id="{D4351E1A-F012-4C31-B075-CCCDC3A02FD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186080" y="4562547"/>
            <a:ext cx="6069919" cy="306690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A441747-877A-4B30-88AB-C11B62EDD505}"/>
              </a:ext>
            </a:extLst>
          </p:cNvPr>
          <p:cNvCxnSpPr>
            <a:cxnSpLocks/>
          </p:cNvCxnSpPr>
          <p:nvPr/>
        </p:nvCxnSpPr>
        <p:spPr>
          <a:xfrm flipV="1">
            <a:off x="7388943" y="5721630"/>
            <a:ext cx="0" cy="5221672"/>
          </a:xfrm>
          <a:prstGeom prst="line">
            <a:avLst/>
          </a:prstGeom>
          <a:ln w="571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CEDF74D9-86FE-4EE3-8679-600757FD4B4A}"/>
              </a:ext>
            </a:extLst>
          </p:cNvPr>
          <p:cNvSpPr txBox="1"/>
          <p:nvPr/>
        </p:nvSpPr>
        <p:spPr>
          <a:xfrm>
            <a:off x="6102298" y="5352298"/>
            <a:ext cx="23449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i="1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Soglia scelta = 0.69</a:t>
            </a: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12828B7-11E4-432D-87C3-AE8E92FF24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6C206D-2104-4DA0-B453-52F9B4D2DEBE}" type="slidenum">
              <a:rPr lang="it-IT" smtClean="0"/>
              <a:t>16</a:t>
            </a:fld>
            <a:endParaRPr lang="it-IT" dirty="0"/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2059FBDD-D20D-4A1F-9079-E22EEF11E45C}"/>
              </a:ext>
            </a:extLst>
          </p:cNvPr>
          <p:cNvSpPr txBox="1"/>
          <p:nvPr/>
        </p:nvSpPr>
        <p:spPr>
          <a:xfrm>
            <a:off x="177527" y="11621728"/>
            <a:ext cx="16174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S</a:t>
            </a:r>
          </a:p>
        </p:txBody>
      </p:sp>
    </p:spTree>
    <p:extLst>
      <p:ext uri="{BB962C8B-B14F-4D97-AF65-F5344CB8AC3E}">
        <p14:creationId xmlns:p14="http://schemas.microsoft.com/office/powerpoint/2010/main" val="401526218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ABB1442-C4D2-4DEB-895D-39AA80DF3B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26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3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ABB1442-C4D2-4DEB-895D-39AA80DF3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26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926FDC8-04F3-4583-822B-C2D4FF63B73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52400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7822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F7D1D0B-A516-4954-A5DC-5A341AFBA7DD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6256000" cy="2087880"/>
          </a:xfrm>
          <a:prstGeom prst="rect">
            <a:avLst/>
          </a:prstGeom>
          <a:solidFill>
            <a:schemeClr val="accent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16256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822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dirty="0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Scoring</a:t>
            </a:r>
          </a:p>
        </p:txBody>
      </p:sp>
      <p:pic>
        <p:nvPicPr>
          <p:cNvPr id="7" name="Immagine 8">
            <a:extLst>
              <a:ext uri="{FF2B5EF4-FFF2-40B4-BE49-F238E27FC236}">
                <a16:creationId xmlns:a16="http://schemas.microsoft.com/office/drawing/2014/main" id="{E4D7650A-31E1-4671-A0BE-7DA1500BA4D4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69356" t="50771" r="283" b="33834"/>
          <a:stretch/>
        </p:blipFill>
        <p:spPr>
          <a:xfrm>
            <a:off x="398207" y="543148"/>
            <a:ext cx="5279470" cy="100158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EA67B8A-68F7-4130-AF0E-40C98C483321}"/>
              </a:ext>
            </a:extLst>
          </p:cNvPr>
          <p:cNvSpPr txBox="1"/>
          <p:nvPr/>
        </p:nvSpPr>
        <p:spPr>
          <a:xfrm>
            <a:off x="545690" y="2536723"/>
            <a:ext cx="8052620" cy="7417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2800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Il dataset di scoring è stato scaricato tramite scraping due/tre settimane più tardi del dataset inizia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280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2800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Abbiamo fatto preprocessing fuori da sas con le esatte stesse modalità del dataset di training/valid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280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2800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Abbiamo dunque scritto del codice sas per applicare il cutoff sul dataset di scoring, come riportato negli </a:t>
            </a:r>
            <a:r>
              <a:rPr lang="it-IT" sz="2800" dirty="0" err="1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screenshot</a:t>
            </a:r>
            <a:r>
              <a:rPr lang="it-IT" sz="2800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 accan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280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2800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Decisione rappresenta la classificazione di scoring, questo dato è stato esportato da sas e salvato come xls nel dataset di partenza (dimostrazione). Questo ci consente di inviarlo ad utenti con il link all’annuncio per conttattare il venditore</a:t>
            </a:r>
          </a:p>
        </p:txBody>
      </p:sp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EAE3A804-9BD5-4633-BF5E-0CEECE7A391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53803939"/>
              </p:ext>
            </p:extLst>
          </p:nvPr>
        </p:nvGraphicFramePr>
        <p:xfrm>
          <a:off x="3927475" y="10337800"/>
          <a:ext cx="847725" cy="17922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40" name="Worksheet" showAsIcon="1" r:id="rId9" imgW="380740" imgH="806335" progId="Excel.Sheet.12">
                  <p:embed/>
                </p:oleObj>
              </mc:Choice>
              <mc:Fallback>
                <p:oleObj name="Worksheet" showAsIcon="1" r:id="rId9" imgW="380740" imgH="806335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927475" y="10337800"/>
                        <a:ext cx="847725" cy="17922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1635EAC3-E102-40BD-AA86-B10E97735E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6C206D-2104-4DA0-B453-52F9B4D2DEBE}" type="slidenum">
              <a:rPr lang="it-IT" smtClean="0"/>
              <a:t>17</a:t>
            </a:fld>
            <a:endParaRPr lang="it-IT" dirty="0"/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92BF059C-76B9-4730-8125-CFC8C13AAC9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032263" y="2210463"/>
            <a:ext cx="6946490" cy="3885537"/>
          </a:xfrm>
          <a:prstGeom prst="rect">
            <a:avLst/>
          </a:prstGeom>
        </p:spPr>
      </p:pic>
      <p:pic>
        <p:nvPicPr>
          <p:cNvPr id="8" name="Immagine 7">
            <a:extLst>
              <a:ext uri="{FF2B5EF4-FFF2-40B4-BE49-F238E27FC236}">
                <a16:creationId xmlns:a16="http://schemas.microsoft.com/office/drawing/2014/main" id="{08064BF1-9FDD-4665-B120-9F1F2195A5F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108299" y="5413410"/>
            <a:ext cx="3982803" cy="6535882"/>
          </a:xfrm>
          <a:prstGeom prst="rect">
            <a:avLst/>
          </a:prstGeom>
        </p:spPr>
      </p:pic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437A2EB0-CFF4-46C6-921F-66C29AE421B1}"/>
              </a:ext>
            </a:extLst>
          </p:cNvPr>
          <p:cNvSpPr txBox="1"/>
          <p:nvPr/>
        </p:nvSpPr>
        <p:spPr>
          <a:xfrm>
            <a:off x="177527" y="11621728"/>
            <a:ext cx="16174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M</a:t>
            </a:r>
          </a:p>
        </p:txBody>
      </p:sp>
    </p:spTree>
    <p:extLst>
      <p:ext uri="{BB962C8B-B14F-4D97-AF65-F5344CB8AC3E}">
        <p14:creationId xmlns:p14="http://schemas.microsoft.com/office/powerpoint/2010/main" val="8315593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ABB1442-C4D2-4DEB-895D-39AA80DF3B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0259276"/>
              </p:ext>
            </p:extLst>
          </p:nvPr>
        </p:nvGraphicFramePr>
        <p:xfrm>
          <a:off x="2118" y="1526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26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926FDC8-04F3-4583-822B-C2D4FF63B73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52400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7822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2B6524-F002-4B0E-BF6C-A2D7EF2383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394" y="2481661"/>
            <a:ext cx="14648426" cy="9140067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it-IT" sz="4000" b="1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Quale autoveicoli a KM0 sono soggetti ad un maggiore sconto?</a:t>
            </a:r>
          </a:p>
          <a:p>
            <a:pPr marL="0" indent="0" algn="ctr">
              <a:buNone/>
            </a:pPr>
            <a:r>
              <a:rPr lang="it-IT" sz="3200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 </a:t>
            </a:r>
          </a:p>
          <a:p>
            <a:r>
              <a:rPr lang="it-IT" sz="2800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Dal punto di vista di un possibile acquirente, vogliamo individuare modelli e caratteristiche di autoveicoli in pronta consegna per le quali vi sia una maggiore convenienza.</a:t>
            </a:r>
          </a:p>
          <a:p>
            <a:r>
              <a:rPr lang="it-IT" sz="2800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Ad oggi, alcuni portali di annunci di autoveicoli (in questo progetto vedremo autoscout24.it) già offrono modelli per la classificazione di annunci (come in immagine) ma </a:t>
            </a:r>
            <a:r>
              <a:rPr lang="it-IT" sz="2800" u="sng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solo</a:t>
            </a:r>
            <a:r>
              <a:rPr lang="it-IT" sz="2800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 per veicoli usati.</a:t>
            </a:r>
            <a:endParaRPr lang="it-IT" sz="240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  <a:p>
            <a:endParaRPr lang="it-IT" sz="320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  <a:p>
            <a:endParaRPr lang="it-IT" sz="320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  <a:p>
            <a:endParaRPr lang="it-IT" sz="320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  <a:p>
            <a:endParaRPr lang="it-IT" sz="320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F7D1D0B-A516-4954-A5DC-5A341AFBA7DD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6256000" cy="2087880"/>
          </a:xfrm>
          <a:prstGeom prst="rect">
            <a:avLst/>
          </a:prstGeom>
          <a:solidFill>
            <a:schemeClr val="accent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16256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822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dirty="0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Business target</a:t>
            </a:r>
            <a:r>
              <a:rPr lang="it-IT" sz="4000" dirty="0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  </a:t>
            </a:r>
            <a:endParaRPr lang="it-IT" dirty="0">
              <a:solidFill>
                <a:schemeClr val="bg1"/>
              </a:solidFill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97DE754-A890-4056-B45F-085DAF5996F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9805" y="7519644"/>
            <a:ext cx="10192748" cy="355802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CBC77A4-CB40-44CD-8D8C-E03762BF9AAD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r="52812"/>
          <a:stretch/>
        </p:blipFill>
        <p:spPr>
          <a:xfrm>
            <a:off x="10560389" y="7108724"/>
            <a:ext cx="5565806" cy="165152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7ED57D8-8D34-4C5C-9877-7A96DE8A48E9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b="25820"/>
          <a:stretch/>
        </p:blipFill>
        <p:spPr>
          <a:xfrm>
            <a:off x="10560390" y="8910035"/>
            <a:ext cx="5565805" cy="308246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6A7493A-1EE2-4D6A-981B-18F5173FDC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6C206D-2104-4DA0-B453-52F9B4D2DEBE}" type="slidenum">
              <a:rPr lang="it-IT" smtClean="0"/>
              <a:t>2</a:t>
            </a:fld>
            <a:endParaRPr lang="it-IT" dirty="0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A036259E-D502-447B-B0C7-F135FB142150}"/>
              </a:ext>
            </a:extLst>
          </p:cNvPr>
          <p:cNvSpPr txBox="1"/>
          <p:nvPr/>
        </p:nvSpPr>
        <p:spPr>
          <a:xfrm>
            <a:off x="177527" y="11621728"/>
            <a:ext cx="16174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S</a:t>
            </a:r>
          </a:p>
        </p:txBody>
      </p:sp>
    </p:spTree>
    <p:extLst>
      <p:ext uri="{BB962C8B-B14F-4D97-AF65-F5344CB8AC3E}">
        <p14:creationId xmlns:p14="http://schemas.microsoft.com/office/powerpoint/2010/main" val="14109002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EE9EE89-F613-43D1-B6D3-75BB20AAAD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0822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F0382B-49EB-49DC-AA49-5CE61443E13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it-IT" sz="7822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8B9F7F9-421F-4021-B359-A286E936D4D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375324" y="4372334"/>
            <a:ext cx="3746857" cy="586848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1EA3C70-4D21-44EB-87F1-5FAE3B1A8B5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378566" y="4286097"/>
            <a:ext cx="4872117" cy="639963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BC8B2FE-60D9-4CB5-9B89-FF2B8AA69F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6256000" cy="2087880"/>
          </a:xfrm>
          <a:solidFill>
            <a:schemeClr val="accent1"/>
          </a:solidFill>
        </p:spPr>
        <p:txBody>
          <a:bodyPr>
            <a:normAutofit/>
          </a:bodyPr>
          <a:lstStyle/>
          <a:p>
            <a:pPr algn="ctr"/>
            <a:r>
              <a:rPr lang="it-IT" dirty="0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Scrap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226AFF-90BF-4304-B0C9-EFFCB94BF3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17599" y="2423160"/>
            <a:ext cx="14224546" cy="815521"/>
          </a:xfrm>
        </p:spPr>
        <p:txBody>
          <a:bodyPr>
            <a:normAutofit fontScale="92500" lnSpcReduction="20000"/>
          </a:bodyPr>
          <a:lstStyle/>
          <a:p>
            <a:r>
              <a:rPr lang="it-IT" sz="3200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Abbiamo formato il dataset scaricando gli annunci direttamente dal portale Autoscout24 (leader di mercato in italia):</a:t>
            </a:r>
          </a:p>
          <a:p>
            <a:pPr marL="812810" lvl="1" indent="0">
              <a:buNone/>
            </a:pPr>
            <a:endParaRPr lang="it-IT" sz="240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  <a:p>
            <a:pPr lvl="1"/>
            <a:endParaRPr lang="it-IT" sz="240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  <a:p>
            <a:pPr lvl="1"/>
            <a:endParaRPr lang="it-IT" sz="2089" dirty="0"/>
          </a:p>
          <a:p>
            <a:endParaRPr lang="it-IT" sz="2800" dirty="0"/>
          </a:p>
          <a:p>
            <a:endParaRPr lang="it-IT" sz="28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742456D-629E-428B-8013-05DEDFD4E517}"/>
              </a:ext>
            </a:extLst>
          </p:cNvPr>
          <p:cNvSpPr txBox="1"/>
          <p:nvPr/>
        </p:nvSpPr>
        <p:spPr>
          <a:xfrm>
            <a:off x="7302267" y="8330738"/>
            <a:ext cx="3988424" cy="1836896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it-IT" dirty="0"/>
          </a:p>
        </p:txBody>
      </p:sp>
      <p:sp>
        <p:nvSpPr>
          <p:cNvPr id="12" name="Arrow: Right 11">
            <a:extLst>
              <a:ext uri="{FF2B5EF4-FFF2-40B4-BE49-F238E27FC236}">
                <a16:creationId xmlns:a16="http://schemas.microsoft.com/office/drawing/2014/main" id="{D8755815-A21E-4CBC-8A72-729647301EA2}"/>
              </a:ext>
            </a:extLst>
          </p:cNvPr>
          <p:cNvSpPr/>
          <p:nvPr/>
        </p:nvSpPr>
        <p:spPr>
          <a:xfrm>
            <a:off x="11350542" y="8284700"/>
            <a:ext cx="932256" cy="451552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7480AC4-5DA8-46C1-BAD8-6ADD46EA7C44}"/>
              </a:ext>
            </a:extLst>
          </p:cNvPr>
          <p:cNvSpPr txBox="1"/>
          <p:nvPr/>
        </p:nvSpPr>
        <p:spPr>
          <a:xfrm>
            <a:off x="8699918" y="9192654"/>
            <a:ext cx="2780882" cy="655423"/>
          </a:xfrm>
          <a:prstGeom prst="rect">
            <a:avLst/>
          </a:prstGeom>
          <a:noFill/>
          <a:ln w="57150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endParaRPr lang="it-IT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E840825-5C1E-4748-ACDE-749119DEC3C6}"/>
              </a:ext>
            </a:extLst>
          </p:cNvPr>
          <p:cNvSpPr txBox="1"/>
          <p:nvPr/>
        </p:nvSpPr>
        <p:spPr>
          <a:xfrm>
            <a:off x="7302267" y="8351847"/>
            <a:ext cx="2030419" cy="320754"/>
          </a:xfrm>
          <a:prstGeom prst="rect">
            <a:avLst/>
          </a:prstGeom>
          <a:noFill/>
          <a:ln w="57150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endParaRPr lang="it-IT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3D51CE9-AC39-43B3-9602-5A8E0973BCA0}"/>
              </a:ext>
            </a:extLst>
          </p:cNvPr>
          <p:cNvSpPr txBox="1"/>
          <p:nvPr/>
        </p:nvSpPr>
        <p:spPr>
          <a:xfrm>
            <a:off x="8820179" y="8672601"/>
            <a:ext cx="916047" cy="369332"/>
          </a:xfrm>
          <a:prstGeom prst="rect">
            <a:avLst/>
          </a:prstGeom>
          <a:noFill/>
          <a:ln w="57150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endParaRPr lang="it-IT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467B3C1-354E-44EC-A777-152CF2FE4C1D}"/>
              </a:ext>
            </a:extLst>
          </p:cNvPr>
          <p:cNvSpPr txBox="1"/>
          <p:nvPr/>
        </p:nvSpPr>
        <p:spPr>
          <a:xfrm>
            <a:off x="7338298" y="9798302"/>
            <a:ext cx="1828233" cy="369332"/>
          </a:xfrm>
          <a:prstGeom prst="rect">
            <a:avLst/>
          </a:prstGeom>
          <a:noFill/>
          <a:ln w="57150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endParaRPr lang="it-IT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34BB404-627E-4362-B46A-4989289A6CEA}"/>
              </a:ext>
            </a:extLst>
          </p:cNvPr>
          <p:cNvSpPr txBox="1"/>
          <p:nvPr/>
        </p:nvSpPr>
        <p:spPr>
          <a:xfrm>
            <a:off x="12300810" y="4339139"/>
            <a:ext cx="2153354" cy="369332"/>
          </a:xfrm>
          <a:prstGeom prst="rect">
            <a:avLst/>
          </a:prstGeom>
          <a:noFill/>
          <a:ln w="57150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endParaRPr lang="it-IT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23EBC73-FDCB-4DB2-A288-37DCC85BCE82}"/>
              </a:ext>
            </a:extLst>
          </p:cNvPr>
          <p:cNvSpPr txBox="1"/>
          <p:nvPr/>
        </p:nvSpPr>
        <p:spPr>
          <a:xfrm>
            <a:off x="12375324" y="6670304"/>
            <a:ext cx="3746856" cy="2442712"/>
          </a:xfrm>
          <a:prstGeom prst="rect">
            <a:avLst/>
          </a:prstGeom>
          <a:noFill/>
          <a:ln w="57150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endParaRPr lang="it-IT" dirty="0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43B641E4-2D7E-45A6-8545-D9D31022949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05375" y="171729"/>
            <a:ext cx="3279774" cy="1744422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3EA3BB34-EAD5-4BD6-B8AB-CF472F486E38}"/>
              </a:ext>
            </a:extLst>
          </p:cNvPr>
          <p:cNvSpPr txBox="1"/>
          <p:nvPr/>
        </p:nvSpPr>
        <p:spPr>
          <a:xfrm>
            <a:off x="6461976" y="3562334"/>
            <a:ext cx="48287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000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Pagina di ricerca annunci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816A626-2B8D-43F4-AFCD-7F926DDE4C78}"/>
              </a:ext>
            </a:extLst>
          </p:cNvPr>
          <p:cNvSpPr txBox="1"/>
          <p:nvPr/>
        </p:nvSpPr>
        <p:spPr>
          <a:xfrm>
            <a:off x="13115738" y="3573961"/>
            <a:ext cx="23694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Dettaglio annuncio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D71D153B-029E-474B-8C88-61111190A29C}"/>
              </a:ext>
            </a:extLst>
          </p:cNvPr>
          <p:cNvSpPr txBox="1">
            <a:spLocks/>
          </p:cNvSpPr>
          <p:nvPr/>
        </p:nvSpPr>
        <p:spPr>
          <a:xfrm>
            <a:off x="1117599" y="3544957"/>
            <a:ext cx="4435213" cy="6969133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406405" indent="-406405" algn="l" defTabSz="1625620" rtl="0" eaLnBrk="1" latinLnBrk="0" hangingPunct="1">
              <a:lnSpc>
                <a:spcPct val="90000"/>
              </a:lnSpc>
              <a:spcBef>
                <a:spcPts val="1778"/>
              </a:spcBef>
              <a:buFont typeface="Arial" panose="020B0604020202020204" pitchFamily="34" charset="0"/>
              <a:buChar char="•"/>
              <a:defRPr sz="497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15" indent="-406405" algn="l" defTabSz="1625620" rtl="0" eaLnBrk="1" latinLnBrk="0" hangingPunct="1">
              <a:lnSpc>
                <a:spcPct val="90000"/>
              </a:lnSpc>
              <a:spcBef>
                <a:spcPts val="889"/>
              </a:spcBef>
              <a:buFont typeface="Arial" panose="020B0604020202020204" pitchFamily="34" charset="0"/>
              <a:buChar char="•"/>
              <a:defRPr sz="42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032025" indent="-406405" algn="l" defTabSz="1625620" rtl="0" eaLnBrk="1" latinLnBrk="0" hangingPunct="1">
              <a:lnSpc>
                <a:spcPct val="90000"/>
              </a:lnSpc>
              <a:spcBef>
                <a:spcPts val="889"/>
              </a:spcBef>
              <a:buFont typeface="Arial" panose="020B0604020202020204" pitchFamily="34" charset="0"/>
              <a:buChar char="•"/>
              <a:defRPr sz="35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44836" indent="-406405" algn="l" defTabSz="1625620" rtl="0" eaLnBrk="1" latinLnBrk="0" hangingPunct="1">
              <a:lnSpc>
                <a:spcPct val="90000"/>
              </a:lnSpc>
              <a:spcBef>
                <a:spcPts val="889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646" indent="-406405" algn="l" defTabSz="1625620" rtl="0" eaLnBrk="1" latinLnBrk="0" hangingPunct="1">
              <a:lnSpc>
                <a:spcPct val="90000"/>
              </a:lnSpc>
              <a:spcBef>
                <a:spcPts val="889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470456" indent="-406405" algn="l" defTabSz="1625620" rtl="0" eaLnBrk="1" latinLnBrk="0" hangingPunct="1">
              <a:lnSpc>
                <a:spcPct val="90000"/>
              </a:lnSpc>
              <a:spcBef>
                <a:spcPts val="889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283266" indent="-406405" algn="l" defTabSz="1625620" rtl="0" eaLnBrk="1" latinLnBrk="0" hangingPunct="1">
              <a:lnSpc>
                <a:spcPct val="90000"/>
              </a:lnSpc>
              <a:spcBef>
                <a:spcPts val="889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096076" indent="-406405" algn="l" defTabSz="1625620" rtl="0" eaLnBrk="1" latinLnBrk="0" hangingPunct="1">
              <a:lnSpc>
                <a:spcPct val="90000"/>
              </a:lnSpc>
              <a:spcBef>
                <a:spcPts val="889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908886" indent="-406405" algn="l" defTabSz="1625620" rtl="0" eaLnBrk="1" latinLnBrk="0" hangingPunct="1">
              <a:lnSpc>
                <a:spcPct val="90000"/>
              </a:lnSpc>
              <a:spcBef>
                <a:spcPts val="889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2800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In fase di scraping abbiamo filtrato gli annunci più recenti pubblicati </a:t>
            </a:r>
            <a:r>
              <a:rPr lang="it-IT" sz="2800" b="1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solo in provincia di milano e dintorni (100 km di raggio)</a:t>
            </a:r>
          </a:p>
          <a:p>
            <a:r>
              <a:rPr lang="it-IT" sz="2800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Siccome </a:t>
            </a:r>
            <a:r>
              <a:rPr lang="it-IT" sz="2800" dirty="0" err="1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autoscout</a:t>
            </a:r>
            <a:r>
              <a:rPr lang="it-IT" sz="2800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 fornisce solo i primi 400 risultati per query, abbiamo utilizzato una combinazione di filtri come carrozzeria, alimentazione, tipo veicolo (KM0 e nuovo) per comporre il dataset di circa 7000 osservazioni.</a:t>
            </a:r>
          </a:p>
          <a:p>
            <a:endParaRPr lang="it-IT" sz="280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8EFC6EA-6B1B-42A1-B016-E9BC73729F1D}"/>
              </a:ext>
            </a:extLst>
          </p:cNvPr>
          <p:cNvSpPr/>
          <p:nvPr/>
        </p:nvSpPr>
        <p:spPr>
          <a:xfrm>
            <a:off x="1145981" y="10792215"/>
            <a:ext cx="12461358" cy="12079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400" b="1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Abbiamo cercato di considerare tutte le possibili variabili presenti negli annunci, scartando però equipaggiamenti inseriti opzionalmente dall’utente</a:t>
            </a:r>
          </a:p>
          <a:p>
            <a:pPr algn="ctr"/>
            <a:r>
              <a:rPr lang="it-IT" sz="2400" b="1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 (i cosidetti «optional»)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473B853-0939-48DE-B2E4-0AEC5A29A9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6C206D-2104-4DA0-B453-52F9B4D2DEBE}" type="slidenum">
              <a:rPr lang="it-IT" smtClean="0"/>
              <a:t>3</a:t>
            </a:fld>
            <a:endParaRPr lang="it-IT" dirty="0"/>
          </a:p>
        </p:txBody>
      </p:sp>
      <p:sp>
        <p:nvSpPr>
          <p:cNvPr id="13" name="Multiplication Sign 12">
            <a:extLst>
              <a:ext uri="{FF2B5EF4-FFF2-40B4-BE49-F238E27FC236}">
                <a16:creationId xmlns:a16="http://schemas.microsoft.com/office/drawing/2014/main" id="{7A455E09-F1B0-4F23-891A-53A93609A99F}"/>
              </a:ext>
            </a:extLst>
          </p:cNvPr>
          <p:cNvSpPr/>
          <p:nvPr/>
        </p:nvSpPr>
        <p:spPr>
          <a:xfrm>
            <a:off x="13845262" y="9325127"/>
            <a:ext cx="1060909" cy="887425"/>
          </a:xfrm>
          <a:prstGeom prst="mathMultiply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B4AB463E-BDBB-400E-82CB-2B9CC33EFC92}"/>
              </a:ext>
            </a:extLst>
          </p:cNvPr>
          <p:cNvSpPr txBox="1"/>
          <p:nvPr/>
        </p:nvSpPr>
        <p:spPr>
          <a:xfrm>
            <a:off x="177527" y="11621728"/>
            <a:ext cx="16174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G</a:t>
            </a:r>
          </a:p>
        </p:txBody>
      </p:sp>
    </p:spTree>
    <p:extLst>
      <p:ext uri="{BB962C8B-B14F-4D97-AF65-F5344CB8AC3E}">
        <p14:creationId xmlns:p14="http://schemas.microsoft.com/office/powerpoint/2010/main" val="12687470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ABB1442-C4D2-4DEB-895D-39AA80DF3B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26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ABB1442-C4D2-4DEB-895D-39AA80DF3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26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926FDC8-04F3-4583-822B-C2D4FF63B73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52400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7822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2B6524-F002-4B0E-BF6C-A2D7EF2383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393" y="2481661"/>
            <a:ext cx="14722167" cy="9140067"/>
          </a:xfrm>
        </p:spPr>
        <p:txBody>
          <a:bodyPr>
            <a:normAutofit/>
          </a:bodyPr>
          <a:lstStyle/>
          <a:p>
            <a:endParaRPr lang="it-IT" sz="320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  <a:p>
            <a:endParaRPr lang="it-IT" sz="320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  <a:p>
            <a:endParaRPr lang="it-IT" sz="320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F7D1D0B-A516-4954-A5DC-5A341AFBA7DD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6256000" cy="2087880"/>
          </a:xfrm>
          <a:prstGeom prst="rect">
            <a:avLst/>
          </a:prstGeom>
          <a:solidFill>
            <a:schemeClr val="accent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16256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822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sz="6000" dirty="0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Preprocessing I  </a:t>
            </a:r>
            <a:endParaRPr lang="it-IT" sz="11500" dirty="0">
              <a:solidFill>
                <a:schemeClr val="bg1"/>
              </a:solidFill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12204BA-3419-4192-B9BD-42DC1385161D}"/>
              </a:ext>
            </a:extLst>
          </p:cNvPr>
          <p:cNvSpPr txBox="1">
            <a:spLocks/>
          </p:cNvSpPr>
          <p:nvPr/>
        </p:nvSpPr>
        <p:spPr>
          <a:xfrm>
            <a:off x="1117599" y="2423156"/>
            <a:ext cx="14224546" cy="884461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406405" indent="-406405" algn="l" defTabSz="1625620" rtl="0" eaLnBrk="1" latinLnBrk="0" hangingPunct="1">
              <a:lnSpc>
                <a:spcPct val="90000"/>
              </a:lnSpc>
              <a:spcBef>
                <a:spcPts val="1778"/>
              </a:spcBef>
              <a:buFont typeface="Arial" panose="020B0604020202020204" pitchFamily="34" charset="0"/>
              <a:buChar char="•"/>
              <a:defRPr sz="497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15" indent="-406405" algn="l" defTabSz="1625620" rtl="0" eaLnBrk="1" latinLnBrk="0" hangingPunct="1">
              <a:lnSpc>
                <a:spcPct val="90000"/>
              </a:lnSpc>
              <a:spcBef>
                <a:spcPts val="889"/>
              </a:spcBef>
              <a:buFont typeface="Arial" panose="020B0604020202020204" pitchFamily="34" charset="0"/>
              <a:buChar char="•"/>
              <a:defRPr sz="42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032025" indent="-406405" algn="l" defTabSz="1625620" rtl="0" eaLnBrk="1" latinLnBrk="0" hangingPunct="1">
              <a:lnSpc>
                <a:spcPct val="90000"/>
              </a:lnSpc>
              <a:spcBef>
                <a:spcPts val="889"/>
              </a:spcBef>
              <a:buFont typeface="Arial" panose="020B0604020202020204" pitchFamily="34" charset="0"/>
              <a:buChar char="•"/>
              <a:defRPr sz="35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44836" indent="-406405" algn="l" defTabSz="1625620" rtl="0" eaLnBrk="1" latinLnBrk="0" hangingPunct="1">
              <a:lnSpc>
                <a:spcPct val="90000"/>
              </a:lnSpc>
              <a:spcBef>
                <a:spcPts val="889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646" indent="-406405" algn="l" defTabSz="1625620" rtl="0" eaLnBrk="1" latinLnBrk="0" hangingPunct="1">
              <a:lnSpc>
                <a:spcPct val="90000"/>
              </a:lnSpc>
              <a:spcBef>
                <a:spcPts val="889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470456" indent="-406405" algn="l" defTabSz="1625620" rtl="0" eaLnBrk="1" latinLnBrk="0" hangingPunct="1">
              <a:lnSpc>
                <a:spcPct val="90000"/>
              </a:lnSpc>
              <a:spcBef>
                <a:spcPts val="889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283266" indent="-406405" algn="l" defTabSz="1625620" rtl="0" eaLnBrk="1" latinLnBrk="0" hangingPunct="1">
              <a:lnSpc>
                <a:spcPct val="90000"/>
              </a:lnSpc>
              <a:spcBef>
                <a:spcPts val="889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096076" indent="-406405" algn="l" defTabSz="1625620" rtl="0" eaLnBrk="1" latinLnBrk="0" hangingPunct="1">
              <a:lnSpc>
                <a:spcPct val="90000"/>
              </a:lnSpc>
              <a:spcBef>
                <a:spcPts val="889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908886" indent="-406405" algn="l" defTabSz="1625620" rtl="0" eaLnBrk="1" latinLnBrk="0" hangingPunct="1">
              <a:lnSpc>
                <a:spcPct val="90000"/>
              </a:lnSpc>
              <a:spcBef>
                <a:spcPts val="889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2000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Una volta scaricati i dati, abbiamo effettuato un’estensiva pulizia tramite OpenRefine. Ad esempio, sono stati risolti i seguenti problemi:</a:t>
            </a:r>
          </a:p>
          <a:p>
            <a:pPr lvl="1"/>
            <a:r>
              <a:rPr lang="it-IT" sz="2000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Trasformati i valori </a:t>
            </a:r>
            <a:r>
              <a:rPr lang="it-IT" sz="2000" dirty="0" err="1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missing</a:t>
            </a:r>
            <a:r>
              <a:rPr lang="it-IT" sz="2000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 per veicoli elettrici dei campi numero di marce cilindrata ed emissioni</a:t>
            </a:r>
          </a:p>
          <a:p>
            <a:pPr lvl="1"/>
            <a:r>
              <a:rPr lang="it-IT" sz="2000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Uniformate le codifiche di alimentazione</a:t>
            </a:r>
          </a:p>
          <a:p>
            <a:pPr lvl="1"/>
            <a:r>
              <a:rPr lang="it-IT" sz="2000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Esclusi outlier nei prezzi (ad esempio annunci ad 1€)</a:t>
            </a:r>
          </a:p>
          <a:p>
            <a:pPr lvl="1"/>
            <a:r>
              <a:rPr lang="it-IT" sz="2000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Esclusi errori di annunci senza marca o modello (prettamente errori dello scraper)</a:t>
            </a:r>
          </a:p>
          <a:p>
            <a:pPr lvl="1"/>
            <a:r>
              <a:rPr lang="it-IT" sz="2000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Sistemazione formato dati (numerico, stringa, etc)</a:t>
            </a:r>
          </a:p>
          <a:p>
            <a:pPr lvl="1"/>
            <a:r>
              <a:rPr lang="it-IT" sz="2000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Uniformato consumo carburante</a:t>
            </a:r>
          </a:p>
          <a:p>
            <a:pPr lvl="1"/>
            <a:r>
              <a:rPr lang="it-IT" sz="2000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… altri campi mancanti sempre tramite approccio deterministico</a:t>
            </a:r>
          </a:p>
          <a:p>
            <a:r>
              <a:rPr lang="it-IT" sz="2000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Questo ci ha consentito di familiarizzare meglio con il dataset e le varibili in gioco</a:t>
            </a:r>
          </a:p>
          <a:p>
            <a:pPr marL="812810" lvl="1" indent="0">
              <a:buFont typeface="Arial" panose="020B0604020202020204" pitchFamily="34" charset="0"/>
              <a:buNone/>
            </a:pPr>
            <a:endParaRPr lang="it-IT" sz="200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  <a:p>
            <a:pPr lvl="1"/>
            <a:endParaRPr lang="it-IT" sz="200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  <a:p>
            <a:pPr lvl="1"/>
            <a:endParaRPr lang="it-IT" sz="200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  <a:p>
            <a:endParaRPr lang="it-IT" sz="200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  <a:p>
            <a:endParaRPr lang="it-IT" sz="200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5076638-126C-436D-976C-5FFA9E62283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97471" y="6445483"/>
            <a:ext cx="13540930" cy="4938205"/>
          </a:xfrm>
          <a:prstGeom prst="rect">
            <a:avLst/>
          </a:prstGeom>
          <a:solidFill>
            <a:srgbClr val="FF0000"/>
          </a:solidFill>
          <a:ln>
            <a:solidFill>
              <a:schemeClr val="accent1"/>
            </a:solidFill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789D6400-C5B2-4878-915E-67AE08FFC3A0}"/>
              </a:ext>
            </a:extLst>
          </p:cNvPr>
          <p:cNvSpPr/>
          <p:nvPr/>
        </p:nvSpPr>
        <p:spPr>
          <a:xfrm>
            <a:off x="1456405" y="10665296"/>
            <a:ext cx="13823061" cy="120494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400" b="1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In generale, abbiamo cercato di ridurre i missing tramite approcci deterministici il più possibile visto che nel nostro caso non rappresentano informazioni aggiuntive ma puramente mancanze da parte di chi ha pubblicato gli annunci</a:t>
            </a:r>
          </a:p>
        </p:txBody>
      </p:sp>
      <p:pic>
        <p:nvPicPr>
          <p:cNvPr id="13" name="Picture 12" descr="A picture containing drawing, plate&#10;&#10;Description automatically generated">
            <a:extLst>
              <a:ext uri="{FF2B5EF4-FFF2-40B4-BE49-F238E27FC236}">
                <a16:creationId xmlns:a16="http://schemas.microsoft.com/office/drawing/2014/main" id="{F7704C54-B1D9-43B9-B97D-1C7E1619EFF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099" y="477273"/>
            <a:ext cx="4457143" cy="1133333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FC05179-AFBD-40BF-9F97-184AB65B93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6C206D-2104-4DA0-B453-52F9B4D2DEBE}" type="slidenum">
              <a:rPr lang="it-IT" smtClean="0"/>
              <a:t>4</a:t>
            </a:fld>
            <a:endParaRPr lang="it-IT" dirty="0"/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108D6293-BD67-41CB-B16A-07677FDDBC21}"/>
              </a:ext>
            </a:extLst>
          </p:cNvPr>
          <p:cNvSpPr txBox="1"/>
          <p:nvPr/>
        </p:nvSpPr>
        <p:spPr>
          <a:xfrm>
            <a:off x="177527" y="11621728"/>
            <a:ext cx="16174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G</a:t>
            </a:r>
          </a:p>
        </p:txBody>
      </p:sp>
    </p:spTree>
    <p:extLst>
      <p:ext uri="{BB962C8B-B14F-4D97-AF65-F5344CB8AC3E}">
        <p14:creationId xmlns:p14="http://schemas.microsoft.com/office/powerpoint/2010/main" val="10524408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ABB1442-C4D2-4DEB-895D-39AA80DF3B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26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6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ABB1442-C4D2-4DEB-895D-39AA80DF3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26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926FDC8-04F3-4583-822B-C2D4FF63B73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52400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7822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F7D1D0B-A516-4954-A5DC-5A341AFBA7DD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6256000" cy="2087880"/>
          </a:xfrm>
          <a:prstGeom prst="rect">
            <a:avLst/>
          </a:prstGeom>
          <a:solidFill>
            <a:schemeClr val="accent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16256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822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sz="6600" dirty="0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Preprocessing </a:t>
            </a:r>
            <a:r>
              <a:rPr lang="it-IT" sz="6000" dirty="0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II</a:t>
            </a:r>
            <a:endParaRPr lang="it-IT" sz="6600" dirty="0">
              <a:solidFill>
                <a:schemeClr val="bg1"/>
              </a:solidFill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68BEA74-A388-44B1-8A59-E021E7B7D178}"/>
              </a:ext>
            </a:extLst>
          </p:cNvPr>
          <p:cNvSpPr txBox="1">
            <a:spLocks/>
          </p:cNvSpPr>
          <p:nvPr/>
        </p:nvSpPr>
        <p:spPr>
          <a:xfrm>
            <a:off x="807338" y="2511646"/>
            <a:ext cx="14737462" cy="913958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406405" indent="-406405" algn="l" defTabSz="1625620" rtl="0" eaLnBrk="1" latinLnBrk="0" hangingPunct="1">
              <a:lnSpc>
                <a:spcPct val="90000"/>
              </a:lnSpc>
              <a:spcBef>
                <a:spcPts val="1778"/>
              </a:spcBef>
              <a:buFont typeface="Arial" panose="020B0604020202020204" pitchFamily="34" charset="0"/>
              <a:buChar char="•"/>
              <a:defRPr sz="497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215" indent="-406405" algn="l" defTabSz="1625620" rtl="0" eaLnBrk="1" latinLnBrk="0" hangingPunct="1">
              <a:lnSpc>
                <a:spcPct val="90000"/>
              </a:lnSpc>
              <a:spcBef>
                <a:spcPts val="889"/>
              </a:spcBef>
              <a:buFont typeface="Arial" panose="020B0604020202020204" pitchFamily="34" charset="0"/>
              <a:buChar char="•"/>
              <a:defRPr sz="42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032025" indent="-406405" algn="l" defTabSz="1625620" rtl="0" eaLnBrk="1" latinLnBrk="0" hangingPunct="1">
              <a:lnSpc>
                <a:spcPct val="90000"/>
              </a:lnSpc>
              <a:spcBef>
                <a:spcPts val="889"/>
              </a:spcBef>
              <a:buFont typeface="Arial" panose="020B0604020202020204" pitchFamily="34" charset="0"/>
              <a:buChar char="•"/>
              <a:defRPr sz="35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44836" indent="-406405" algn="l" defTabSz="1625620" rtl="0" eaLnBrk="1" latinLnBrk="0" hangingPunct="1">
              <a:lnSpc>
                <a:spcPct val="90000"/>
              </a:lnSpc>
              <a:spcBef>
                <a:spcPts val="889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646" indent="-406405" algn="l" defTabSz="1625620" rtl="0" eaLnBrk="1" latinLnBrk="0" hangingPunct="1">
              <a:lnSpc>
                <a:spcPct val="90000"/>
              </a:lnSpc>
              <a:spcBef>
                <a:spcPts val="889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470456" indent="-406405" algn="l" defTabSz="1625620" rtl="0" eaLnBrk="1" latinLnBrk="0" hangingPunct="1">
              <a:lnSpc>
                <a:spcPct val="90000"/>
              </a:lnSpc>
              <a:spcBef>
                <a:spcPts val="889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283266" indent="-406405" algn="l" defTabSz="1625620" rtl="0" eaLnBrk="1" latinLnBrk="0" hangingPunct="1">
              <a:lnSpc>
                <a:spcPct val="90000"/>
              </a:lnSpc>
              <a:spcBef>
                <a:spcPts val="889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096076" indent="-406405" algn="l" defTabSz="1625620" rtl="0" eaLnBrk="1" latinLnBrk="0" hangingPunct="1">
              <a:lnSpc>
                <a:spcPct val="90000"/>
              </a:lnSpc>
              <a:spcBef>
                <a:spcPts val="889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908886" indent="-406405" algn="l" defTabSz="1625620" rtl="0" eaLnBrk="1" latinLnBrk="0" hangingPunct="1">
              <a:lnSpc>
                <a:spcPct val="90000"/>
              </a:lnSpc>
              <a:spcBef>
                <a:spcPts val="889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2800" b="1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Individuazione variable target: </a:t>
            </a:r>
            <a:r>
              <a:rPr lang="it-IT" sz="2800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avendo scaricato gli annunci di veicoli nuovi e </a:t>
            </a:r>
            <a:r>
              <a:rPr lang="it-IT" sz="2800" dirty="0" err="1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preimmatricolati</a:t>
            </a:r>
            <a:r>
              <a:rPr lang="it-IT" sz="2800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 abbiamo effettuato una inner join per mantere solo i modelli presenti in entrambe le tipologie.</a:t>
            </a:r>
          </a:p>
          <a:p>
            <a:r>
              <a:rPr lang="it-IT" sz="2800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Abbiamo dunque calcolato il prezzo mediano per modello di autoveicolo nuovo come baseline, e calcolato lo sconto per ogni singola osservazione a KM0. Dunque abbiamo  calcolato le % di sconto sul prezzo nuovo per singola osservazione a KM0, le quali sono distribuite nel dataset come segue:</a:t>
            </a:r>
          </a:p>
          <a:p>
            <a:endParaRPr lang="it-IT" sz="200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  <a:p>
            <a:pPr lvl="1"/>
            <a:endParaRPr lang="it-IT" sz="200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  <a:p>
            <a:pPr lvl="1"/>
            <a:endParaRPr lang="it-IT" sz="2000" dirty="0"/>
          </a:p>
          <a:p>
            <a:endParaRPr lang="it-IT" sz="2000" dirty="0"/>
          </a:p>
          <a:p>
            <a:endParaRPr lang="it-IT" sz="20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DE376C4-0409-486C-9B23-56E70333845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67342" y="5849555"/>
            <a:ext cx="7264104" cy="463399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0447C05-2E7A-43C2-A6E9-1E02B065624D}"/>
              </a:ext>
            </a:extLst>
          </p:cNvPr>
          <p:cNvCxnSpPr>
            <a:cxnSpLocks/>
          </p:cNvCxnSpPr>
          <p:nvPr/>
        </p:nvCxnSpPr>
        <p:spPr>
          <a:xfrm flipV="1">
            <a:off x="9070258" y="6754761"/>
            <a:ext cx="0" cy="2403987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E7283608-BCE2-4B8A-A0AF-3A3E27834AEE}"/>
              </a:ext>
            </a:extLst>
          </p:cNvPr>
          <p:cNvSpPr txBox="1"/>
          <p:nvPr/>
        </p:nvSpPr>
        <p:spPr>
          <a:xfrm>
            <a:off x="8627811" y="6385429"/>
            <a:ext cx="8848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&gt;10%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141CE1-D9DC-4299-A74B-F559D25C00C3}"/>
              </a:ext>
            </a:extLst>
          </p:cNvPr>
          <p:cNvSpPr/>
          <p:nvPr/>
        </p:nvSpPr>
        <p:spPr>
          <a:xfrm>
            <a:off x="1106129" y="10716431"/>
            <a:ext cx="14217437" cy="134465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400" b="1" dirty="0"/>
              <a:t>Dunque la variabile dipendente è stata dicotomizzata in base alla soglia del 10%.</a:t>
            </a:r>
          </a:p>
          <a:p>
            <a:pPr algn="ctr"/>
            <a:r>
              <a:rPr lang="it-IT" sz="2400" b="1" dirty="0"/>
              <a:t>Vi è un duplice motivo di business per questa scelta: abbiamo reputato che 10% sia una soglia accettabile di sconto, in più è lo sconto minimo necessario per accedere a incentivi della RL del decreto rilancio</a:t>
            </a:r>
            <a:endParaRPr lang="it-IT" b="1" dirty="0"/>
          </a:p>
        </p:txBody>
      </p:sp>
      <p:pic>
        <p:nvPicPr>
          <p:cNvPr id="18" name="Picture 17" descr="Logo, company name&#10;&#10;Description automatically generated">
            <a:extLst>
              <a:ext uri="{FF2B5EF4-FFF2-40B4-BE49-F238E27FC236}">
                <a16:creationId xmlns:a16="http://schemas.microsoft.com/office/drawing/2014/main" id="{7F8137EC-4C22-4CE7-95EA-4CECF55A45E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7988" y="467377"/>
            <a:ext cx="2173134" cy="1216955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117DCA6-FDDB-4A57-B0D4-BBCEAF1E78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6C206D-2104-4DA0-B453-52F9B4D2DEBE}" type="slidenum">
              <a:rPr lang="it-IT" smtClean="0"/>
              <a:t>5</a:t>
            </a:fld>
            <a:endParaRPr lang="it-IT" dirty="0"/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F027DDBE-2886-46C4-8DC5-69BFCFD6133B}"/>
              </a:ext>
            </a:extLst>
          </p:cNvPr>
          <p:cNvSpPr txBox="1"/>
          <p:nvPr/>
        </p:nvSpPr>
        <p:spPr>
          <a:xfrm>
            <a:off x="177527" y="11621728"/>
            <a:ext cx="16174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G</a:t>
            </a:r>
          </a:p>
        </p:txBody>
      </p:sp>
    </p:spTree>
    <p:extLst>
      <p:ext uri="{BB962C8B-B14F-4D97-AF65-F5344CB8AC3E}">
        <p14:creationId xmlns:p14="http://schemas.microsoft.com/office/powerpoint/2010/main" val="17392010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ABB1442-C4D2-4DEB-895D-39AA80DF3B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26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8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ABB1442-C4D2-4DEB-895D-39AA80DF3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26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926FDC8-04F3-4583-822B-C2D4FF63B73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52400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7822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F7D1D0B-A516-4954-A5DC-5A341AFBA7DD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6256000" cy="2087880"/>
          </a:xfrm>
          <a:prstGeom prst="rect">
            <a:avLst/>
          </a:prstGeom>
          <a:solidFill>
            <a:schemeClr val="accent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16256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822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dirty="0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Overall diagram</a:t>
            </a:r>
            <a:r>
              <a:rPr lang="it-IT" sz="4000" dirty="0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  </a:t>
            </a:r>
            <a:endParaRPr lang="it-IT" dirty="0">
              <a:solidFill>
                <a:schemeClr val="bg1"/>
              </a:solidFill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pic>
        <p:nvPicPr>
          <p:cNvPr id="9" name="Immagine 8">
            <a:extLst>
              <a:ext uri="{FF2B5EF4-FFF2-40B4-BE49-F238E27FC236}">
                <a16:creationId xmlns:a16="http://schemas.microsoft.com/office/drawing/2014/main" id="{479BAB34-FB21-4C60-BEE7-1E0365D88A5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3498418"/>
            <a:ext cx="16256000" cy="608232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07F8B04F-B5D2-4CB5-85FC-15D74DD9392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38947" y="620268"/>
            <a:ext cx="2121408" cy="847344"/>
          </a:xfrm>
          <a:prstGeom prst="rect">
            <a:avLst/>
          </a:prstGeo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1642052-FD15-420C-96DA-D89B7570F1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6C206D-2104-4DA0-B453-52F9B4D2DEBE}" type="slidenum">
              <a:rPr lang="it-IT" smtClean="0"/>
              <a:t>6</a:t>
            </a:fld>
            <a:endParaRPr lang="it-IT" dirty="0"/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5EC2B88A-FAD8-4FBA-835F-3D2B2CF57839}"/>
              </a:ext>
            </a:extLst>
          </p:cNvPr>
          <p:cNvSpPr txBox="1"/>
          <p:nvPr/>
        </p:nvSpPr>
        <p:spPr>
          <a:xfrm>
            <a:off x="177527" y="11621728"/>
            <a:ext cx="16174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G</a:t>
            </a:r>
          </a:p>
        </p:txBody>
      </p:sp>
    </p:spTree>
    <p:extLst>
      <p:ext uri="{BB962C8B-B14F-4D97-AF65-F5344CB8AC3E}">
        <p14:creationId xmlns:p14="http://schemas.microsoft.com/office/powerpoint/2010/main" val="21806709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ABB1442-C4D2-4DEB-895D-39AA80DF3B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26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ABB1442-C4D2-4DEB-895D-39AA80DF3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26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926FDC8-04F3-4583-822B-C2D4FF63B73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52400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7822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F7D1D0B-A516-4954-A5DC-5A341AFBA7DD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6256000" cy="2087880"/>
          </a:xfrm>
          <a:prstGeom prst="rect">
            <a:avLst/>
          </a:prstGeom>
          <a:solidFill>
            <a:schemeClr val="accent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16256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822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dirty="0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SAS </a:t>
            </a:r>
            <a:r>
              <a:rPr lang="it-IT" sz="4000" dirty="0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  </a:t>
            </a:r>
            <a:endParaRPr lang="it-IT" dirty="0">
              <a:solidFill>
                <a:schemeClr val="bg1"/>
              </a:solidFill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88BA6A1-EFB6-4484-A7BF-AE1F66129A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393" y="2788355"/>
            <a:ext cx="14928646" cy="8671141"/>
          </a:xfrm>
        </p:spPr>
        <p:txBody>
          <a:bodyPr>
            <a:normAutofit/>
          </a:bodyPr>
          <a:lstStyle/>
          <a:p>
            <a:r>
              <a:rPr lang="it-IT" sz="2800" dirty="0"/>
              <a:t>Il dataset è stato dunque importato su SAS come xlsx e salvato come dataset di sas</a:t>
            </a:r>
          </a:p>
          <a:p>
            <a:endParaRPr lang="it-IT" sz="2800" dirty="0"/>
          </a:p>
          <a:p>
            <a:endParaRPr lang="it-IT" sz="2800" dirty="0"/>
          </a:p>
          <a:p>
            <a:endParaRPr lang="it-IT" sz="2800" dirty="0"/>
          </a:p>
          <a:p>
            <a:r>
              <a:rPr lang="it-IT" sz="2800" dirty="0"/>
              <a:t>Le seguenti sono le variabili e target presenti nel dataset:</a:t>
            </a: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3FEDB7A8-EFC1-4908-AB1E-84A07A50289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21222" y="3248923"/>
            <a:ext cx="5975200" cy="1963522"/>
          </a:xfrm>
          <a:prstGeom prst="rect">
            <a:avLst/>
          </a:prstGeom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id="{6C04E844-10C7-4282-A9F7-CB19BCADC64C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18491" r="58450" b="1973"/>
          <a:stretch/>
        </p:blipFill>
        <p:spPr>
          <a:xfrm>
            <a:off x="4221221" y="5673012"/>
            <a:ext cx="5975199" cy="617113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" name="Immagine 8">
            <a:extLst>
              <a:ext uri="{FF2B5EF4-FFF2-40B4-BE49-F238E27FC236}">
                <a16:creationId xmlns:a16="http://schemas.microsoft.com/office/drawing/2014/main" id="{0ECCE076-DB74-479A-B7C7-82EB39875CDD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4557" r="90383" b="86565"/>
          <a:stretch/>
        </p:blipFill>
        <p:spPr>
          <a:xfrm>
            <a:off x="5191433" y="773931"/>
            <a:ext cx="1563330" cy="540017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BEB10B2-6912-4773-A7B3-07CADDB7BD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6C206D-2104-4DA0-B453-52F9B4D2DEBE}" type="slidenum">
              <a:rPr lang="it-IT" smtClean="0"/>
              <a:t>7</a:t>
            </a:fld>
            <a:endParaRPr lang="it-IT" dirty="0"/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52211426-6D19-4E11-814A-6088EF943DCC}"/>
              </a:ext>
            </a:extLst>
          </p:cNvPr>
          <p:cNvSpPr txBox="1"/>
          <p:nvPr/>
        </p:nvSpPr>
        <p:spPr>
          <a:xfrm>
            <a:off x="177527" y="11621728"/>
            <a:ext cx="16174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G</a:t>
            </a:r>
          </a:p>
        </p:txBody>
      </p:sp>
    </p:spTree>
    <p:extLst>
      <p:ext uri="{BB962C8B-B14F-4D97-AF65-F5344CB8AC3E}">
        <p14:creationId xmlns:p14="http://schemas.microsoft.com/office/powerpoint/2010/main" val="29554915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ABB1442-C4D2-4DEB-895D-39AA80DF3B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26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ABB1442-C4D2-4DEB-895D-39AA80DF3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26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926FDC8-04F3-4583-822B-C2D4FF63B73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52400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7822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F7D1D0B-A516-4954-A5DC-5A341AFBA7DD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6256000" cy="2087880"/>
          </a:xfrm>
          <a:prstGeom prst="rect">
            <a:avLst/>
          </a:prstGeom>
          <a:solidFill>
            <a:schemeClr val="accent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16256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822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dirty="0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Esplorative </a:t>
            </a:r>
            <a:r>
              <a:rPr lang="it-IT" sz="4000" dirty="0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  </a:t>
            </a:r>
            <a:endParaRPr lang="it-IT" dirty="0">
              <a:solidFill>
                <a:schemeClr val="bg1"/>
              </a:solidFill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88BA6A1-EFB6-4484-A7BF-AE1F66129A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393" y="2374490"/>
            <a:ext cx="14928646" cy="9574801"/>
          </a:xfrm>
        </p:spPr>
        <p:txBody>
          <a:bodyPr>
            <a:normAutofit/>
          </a:bodyPr>
          <a:lstStyle/>
          <a:p>
            <a:r>
              <a:rPr lang="it-IT" sz="2800" dirty="0"/>
              <a:t>Tramite il nodo di statistiche esplorative abbiamo effettuato un test X^2 di associazione X-Y:</a:t>
            </a:r>
          </a:p>
          <a:p>
            <a:endParaRPr lang="it-IT" sz="2800" dirty="0"/>
          </a:p>
          <a:p>
            <a:endParaRPr lang="it-IT" sz="2800" dirty="0"/>
          </a:p>
          <a:p>
            <a:endParaRPr lang="it-IT" sz="2800" dirty="0"/>
          </a:p>
          <a:p>
            <a:endParaRPr lang="it-IT" sz="2800" dirty="0"/>
          </a:p>
          <a:p>
            <a:endParaRPr lang="it-IT" sz="2800" dirty="0"/>
          </a:p>
          <a:p>
            <a:endParaRPr lang="it-IT" sz="2800" dirty="0"/>
          </a:p>
          <a:p>
            <a:endParaRPr lang="it-IT" sz="2800" dirty="0"/>
          </a:p>
          <a:p>
            <a:endParaRPr lang="it-IT" sz="2800" dirty="0"/>
          </a:p>
          <a:p>
            <a:endParaRPr lang="it-IT" sz="2800" dirty="0"/>
          </a:p>
          <a:p>
            <a:endParaRPr lang="it-IT" sz="2800" dirty="0"/>
          </a:p>
          <a:p>
            <a:endParaRPr lang="it-IT" sz="2800" dirty="0"/>
          </a:p>
        </p:txBody>
      </p:sp>
      <p:pic>
        <p:nvPicPr>
          <p:cNvPr id="12" name="Immagine 8">
            <a:extLst>
              <a:ext uri="{FF2B5EF4-FFF2-40B4-BE49-F238E27FC236}">
                <a16:creationId xmlns:a16="http://schemas.microsoft.com/office/drawing/2014/main" id="{1FB4034D-5DC2-4AAF-BA5D-292680C1E121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4557" r="78317" b="68043"/>
          <a:stretch/>
        </p:blipFill>
        <p:spPr>
          <a:xfrm>
            <a:off x="1578077" y="8701"/>
            <a:ext cx="3524865" cy="1887981"/>
          </a:xfrm>
          <a:prstGeom prst="rect">
            <a:avLst/>
          </a:prstGeom>
        </p:spPr>
      </p:pic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F389BB95-972F-447E-8B8F-416D541124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6C206D-2104-4DA0-B453-52F9B4D2DEBE}" type="slidenum">
              <a:rPr lang="it-IT" smtClean="0"/>
              <a:t>8</a:t>
            </a:fld>
            <a:endParaRPr lang="it-IT" dirty="0"/>
          </a:p>
        </p:txBody>
      </p:sp>
      <p:pic>
        <p:nvPicPr>
          <p:cNvPr id="15" name="Immagine 14">
            <a:extLst>
              <a:ext uri="{FF2B5EF4-FFF2-40B4-BE49-F238E27FC236}">
                <a16:creationId xmlns:a16="http://schemas.microsoft.com/office/drawing/2014/main" id="{92E7C82D-5725-4D72-880F-2B3C7503900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274799" y="8847204"/>
            <a:ext cx="10058400" cy="2466975"/>
          </a:xfrm>
          <a:prstGeom prst="rect">
            <a:avLst/>
          </a:prstGeom>
        </p:spPr>
      </p:pic>
      <p:pic>
        <p:nvPicPr>
          <p:cNvPr id="16" name="Immagine 15">
            <a:extLst>
              <a:ext uri="{FF2B5EF4-FFF2-40B4-BE49-F238E27FC236}">
                <a16:creationId xmlns:a16="http://schemas.microsoft.com/office/drawing/2014/main" id="{3676BC57-9F06-487E-A5AD-D91FDD8E3E9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92266" y="3192418"/>
            <a:ext cx="9686925" cy="5019675"/>
          </a:xfrm>
          <a:prstGeom prst="rect">
            <a:avLst/>
          </a:prstGeom>
        </p:spPr>
      </p:pic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0F154DA4-D682-4DB4-A8B4-5C832976F458}"/>
              </a:ext>
            </a:extLst>
          </p:cNvPr>
          <p:cNvSpPr txBox="1"/>
          <p:nvPr/>
        </p:nvSpPr>
        <p:spPr>
          <a:xfrm>
            <a:off x="177527" y="11621728"/>
            <a:ext cx="16174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M</a:t>
            </a:r>
          </a:p>
        </p:txBody>
      </p:sp>
    </p:spTree>
    <p:extLst>
      <p:ext uri="{BB962C8B-B14F-4D97-AF65-F5344CB8AC3E}">
        <p14:creationId xmlns:p14="http://schemas.microsoft.com/office/powerpoint/2010/main" val="7612861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ABB1442-C4D2-4DEB-895D-39AA80DF3B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26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ABB1442-C4D2-4DEB-895D-39AA80DF3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26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926FDC8-04F3-4583-822B-C2D4FF63B73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52400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7822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F7D1D0B-A516-4954-A5DC-5A341AFBA7DD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6256000" cy="2087880"/>
          </a:xfrm>
          <a:prstGeom prst="rect">
            <a:avLst/>
          </a:prstGeom>
          <a:solidFill>
            <a:schemeClr val="accent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16256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822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dirty="0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Esplorative </a:t>
            </a:r>
            <a:r>
              <a:rPr lang="it-IT" sz="4000" dirty="0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  </a:t>
            </a:r>
            <a:endParaRPr lang="it-IT" dirty="0">
              <a:solidFill>
                <a:schemeClr val="bg1"/>
              </a:solidFill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88BA6A1-EFB6-4484-A7BF-AE1F66129A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393" y="2374490"/>
            <a:ext cx="14928646" cy="9574801"/>
          </a:xfrm>
        </p:spPr>
        <p:txBody>
          <a:bodyPr>
            <a:normAutofit lnSpcReduction="10000"/>
          </a:bodyPr>
          <a:lstStyle/>
          <a:p>
            <a:r>
              <a:rPr lang="it-IT" sz="2800" dirty="0"/>
              <a:t>Tramite il nodo di statistiche esplorative abbiamo effettuato un test X^2 di associazione X-Y:</a:t>
            </a:r>
          </a:p>
          <a:p>
            <a:endParaRPr lang="it-IT" sz="2800" dirty="0"/>
          </a:p>
          <a:p>
            <a:endParaRPr lang="it-IT" sz="2800" dirty="0"/>
          </a:p>
          <a:p>
            <a:endParaRPr lang="it-IT" sz="2800" dirty="0"/>
          </a:p>
          <a:p>
            <a:endParaRPr lang="it-IT" sz="2800" dirty="0"/>
          </a:p>
          <a:p>
            <a:endParaRPr lang="it-IT" sz="2800" dirty="0"/>
          </a:p>
          <a:p>
            <a:endParaRPr lang="it-IT" sz="2800" dirty="0"/>
          </a:p>
          <a:p>
            <a:endParaRPr lang="it-IT" sz="2800" dirty="0"/>
          </a:p>
          <a:p>
            <a:endParaRPr lang="it-IT" sz="2800" dirty="0"/>
          </a:p>
          <a:p>
            <a:endParaRPr lang="it-IT" sz="2800" dirty="0"/>
          </a:p>
          <a:p>
            <a:endParaRPr lang="it-IT" sz="2800" dirty="0"/>
          </a:p>
          <a:p>
            <a:endParaRPr lang="it-IT" sz="2800" dirty="0"/>
          </a:p>
          <a:p>
            <a:r>
              <a:rPr lang="it-IT" sz="2800" dirty="0"/>
              <a:t>Abbiamo dunque accettato l’ipotesi nulla (ovvero mancanza di dipendenza) per le covariate conditional_on_price e veicolo_per_non_fumatori, questo ha senso anche dal punto di vista del business.</a:t>
            </a:r>
          </a:p>
          <a:p>
            <a:r>
              <a:rPr lang="it-IT" sz="2800" dirty="0"/>
              <a:t>Inoltre, la covariabile marca è stata rifiutata, perché ridondante rispetto a Modello, visto che ad ogni modello corrisponde una ed una sola marca, e non vi sono problemi di missing o qualità di input.</a:t>
            </a:r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5F0646B2-B201-4D24-9A8E-BAA06F05470D}"/>
              </a:ext>
            </a:extLst>
          </p:cNvPr>
          <p:cNvSpPr/>
          <p:nvPr/>
        </p:nvSpPr>
        <p:spPr>
          <a:xfrm>
            <a:off x="6809083" y="5277464"/>
            <a:ext cx="1622322" cy="128310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967C3C79-46B8-4B48-BBB8-FE41D7645BC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14646" y="3077829"/>
            <a:ext cx="5118310" cy="578869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2" name="Immagine 8">
            <a:extLst>
              <a:ext uri="{FF2B5EF4-FFF2-40B4-BE49-F238E27FC236}">
                <a16:creationId xmlns:a16="http://schemas.microsoft.com/office/drawing/2014/main" id="{1FB4034D-5DC2-4AAF-BA5D-292680C1E121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4557" r="78317" b="68043"/>
          <a:stretch/>
        </p:blipFill>
        <p:spPr>
          <a:xfrm>
            <a:off x="1578077" y="8701"/>
            <a:ext cx="3524865" cy="1887981"/>
          </a:xfrm>
          <a:prstGeom prst="rect">
            <a:avLst/>
          </a:prstGeom>
        </p:spPr>
      </p:pic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F389BB95-972F-447E-8B8F-416D541124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6C206D-2104-4DA0-B453-52F9B4D2DEBE}" type="slidenum">
              <a:rPr lang="it-IT" smtClean="0"/>
              <a:t>9</a:t>
            </a:fld>
            <a:endParaRPr lang="it-IT" dirty="0"/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2ADED178-325E-4867-B53C-3DF180FD10A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970526" y="3077829"/>
            <a:ext cx="4791075" cy="542925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BD9981E-4E8B-40B6-96AE-440D64AE0244}"/>
              </a:ext>
            </a:extLst>
          </p:cNvPr>
          <p:cNvSpPr/>
          <p:nvPr/>
        </p:nvSpPr>
        <p:spPr>
          <a:xfrm>
            <a:off x="1949121" y="7657350"/>
            <a:ext cx="4188542" cy="176980"/>
          </a:xfrm>
          <a:prstGeom prst="rect">
            <a:avLst/>
          </a:prstGeom>
          <a:solidFill>
            <a:srgbClr val="4472C4">
              <a:alpha val="7843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480CEAF-560D-4B07-B703-795A5C05AF9D}"/>
              </a:ext>
            </a:extLst>
          </p:cNvPr>
          <p:cNvSpPr/>
          <p:nvPr/>
        </p:nvSpPr>
        <p:spPr>
          <a:xfrm>
            <a:off x="1923044" y="8162628"/>
            <a:ext cx="4188542" cy="176980"/>
          </a:xfrm>
          <a:prstGeom prst="rect">
            <a:avLst/>
          </a:prstGeom>
          <a:solidFill>
            <a:srgbClr val="4472C4">
              <a:alpha val="7843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8558BD50-866C-456E-AE53-9D8E864AF908}"/>
              </a:ext>
            </a:extLst>
          </p:cNvPr>
          <p:cNvSpPr txBox="1"/>
          <p:nvPr/>
        </p:nvSpPr>
        <p:spPr>
          <a:xfrm>
            <a:off x="177527" y="11621728"/>
            <a:ext cx="16174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M</a:t>
            </a:r>
          </a:p>
        </p:txBody>
      </p:sp>
    </p:spTree>
    <p:extLst>
      <p:ext uri="{BB962C8B-B14F-4D97-AF65-F5344CB8AC3E}">
        <p14:creationId xmlns:p14="http://schemas.microsoft.com/office/powerpoint/2010/main" val="38527021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bQ7u6dYZKEfVnUGH5W4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LjTO8EDQp3tUzKVIdJS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6y486PRZ6YPzkqpxbIR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86DfVdG3jgsWBlH51e7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qbQIcFzlivB99DWBj7p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UL50GBQiBRkUT5QYgEN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AI696gaE4lXoZu8cUez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fN.CaOWtGJoAgNGU35X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_7YurpjczBSQaMgpt8G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6oghr6EXVTe5z0uD2Sg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XF0IWsxfizByeheMrbs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_7YurpjczBSQaMgpt8G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_7YurpjczBSQaMgpt8G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_7YurpjczBSQaMgpt8G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_7YurpjczBSQaMgpt8G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_7YurpjczBSQaMgpt8G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_7YurpjczBSQaMgpt8G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_7YurpjczBSQaMgpt8G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_7YurpjczBSQaMgpt8G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_7YurpjczBSQaMgpt8G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5glqaz9ENUOXTJss3WB6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_7YurpjczBSQaMgpt8G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_7YurpjczBSQaMgpt8G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_7YurpjczBSQaMgpt8G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_7YurpjczBSQaMgpt8G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_7YurpjczBSQaMgpt8G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opFPbXisPbkrrDPY97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vNLUeslDPBDkzXdUbP1w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135</Words>
  <Application>Microsoft Office PowerPoint</Application>
  <PresentationFormat>Custom</PresentationFormat>
  <Paragraphs>178</Paragraphs>
  <Slides>17</Slides>
  <Notes>17</Notes>
  <HiddenSlides>1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7</vt:i4>
      </vt:variant>
    </vt:vector>
  </HeadingPairs>
  <TitlesOfParts>
    <vt:vector size="24" baseType="lpstr">
      <vt:lpstr>ABBvoice</vt:lpstr>
      <vt:lpstr>Arial</vt:lpstr>
      <vt:lpstr>Calibri</vt:lpstr>
      <vt:lpstr>Calibri Light</vt:lpstr>
      <vt:lpstr>Office Theme</vt:lpstr>
      <vt:lpstr>think-cell Slide</vt:lpstr>
      <vt:lpstr>Worksheet</vt:lpstr>
      <vt:lpstr>Data mining</vt:lpstr>
      <vt:lpstr>PowerPoint Presentation</vt:lpstr>
      <vt:lpstr>Scrap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ig data &amp; analytics - homework Autoscout24 scraping</dc:title>
  <dc:creator>Simone Zambetti</dc:creator>
  <cp:lastModifiedBy>Simone Zambetti</cp:lastModifiedBy>
  <cp:revision>117</cp:revision>
  <dcterms:created xsi:type="dcterms:W3CDTF">2020-07-03T08:35:10Z</dcterms:created>
  <dcterms:modified xsi:type="dcterms:W3CDTF">2021-04-13T09:42:29Z</dcterms:modified>
</cp:coreProperties>
</file>